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5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6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7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8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9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10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11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12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13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14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15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16.xml" ContentType="application/vnd.openxmlformats-officedocument.presentationml.notesSl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17.xml" ContentType="application/vnd.openxmlformats-officedocument.presentationml.notesSlid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18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6" r:id="rId4"/>
  </p:sldMasterIdLst>
  <p:notesMasterIdLst>
    <p:notesMasterId r:id="rId24"/>
  </p:notesMasterIdLst>
  <p:sldIdLst>
    <p:sldId id="256" r:id="rId5"/>
    <p:sldId id="611" r:id="rId6"/>
    <p:sldId id="612" r:id="rId7"/>
    <p:sldId id="613" r:id="rId8"/>
    <p:sldId id="614" r:id="rId9"/>
    <p:sldId id="615" r:id="rId10"/>
    <p:sldId id="616" r:id="rId11"/>
    <p:sldId id="617" r:id="rId12"/>
    <p:sldId id="618" r:id="rId13"/>
    <p:sldId id="619" r:id="rId14"/>
    <p:sldId id="620" r:id="rId15"/>
    <p:sldId id="621" r:id="rId16"/>
    <p:sldId id="622" r:id="rId17"/>
    <p:sldId id="623" r:id="rId18"/>
    <p:sldId id="624" r:id="rId19"/>
    <p:sldId id="625" r:id="rId20"/>
    <p:sldId id="626" r:id="rId21"/>
    <p:sldId id="627" r:id="rId22"/>
    <p:sldId id="588" r:id="rId23"/>
  </p:sldIdLst>
  <p:sldSz cx="20104100" cy="11309350"/>
  <p:notesSz cx="20104100" cy="11309350"/>
  <p:custDataLst>
    <p:tags r:id="rId2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6EE1F38D-1C2F-B94C-A5EA-9CE6E5DA65DC}">
          <p14:sldIdLst>
            <p14:sldId id="256"/>
            <p14:sldId id="611"/>
            <p14:sldId id="612"/>
            <p14:sldId id="613"/>
            <p14:sldId id="614"/>
            <p14:sldId id="615"/>
            <p14:sldId id="616"/>
            <p14:sldId id="617"/>
            <p14:sldId id="618"/>
            <p14:sldId id="619"/>
            <p14:sldId id="620"/>
            <p14:sldId id="621"/>
            <p14:sldId id="622"/>
            <p14:sldId id="623"/>
            <p14:sldId id="624"/>
            <p14:sldId id="625"/>
            <p14:sldId id="626"/>
            <p14:sldId id="627"/>
            <p14:sldId id="58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566" userDrawn="1">
          <p15:clr>
            <a:srgbClr val="A4A3A4"/>
          </p15:clr>
        </p15:guide>
        <p15:guide id="2" pos="10460" userDrawn="1">
          <p15:clr>
            <a:srgbClr val="A4A3A4"/>
          </p15:clr>
        </p15:guide>
        <p15:guide id="3" pos="4336" userDrawn="1">
          <p15:clr>
            <a:srgbClr val="A4A3A4"/>
          </p15:clr>
        </p15:guide>
        <p15:guide id="4" pos="4109" userDrawn="1">
          <p15:clr>
            <a:srgbClr val="A4A3A4"/>
          </p15:clr>
        </p15:guide>
        <p15:guide id="5" pos="3701" userDrawn="1">
          <p15:clr>
            <a:srgbClr val="A4A3A4"/>
          </p15:clr>
        </p15:guide>
        <p15:guide id="6" pos="3429" userDrawn="1">
          <p15:clr>
            <a:srgbClr val="A4A3A4"/>
          </p15:clr>
        </p15:guide>
        <p15:guide id="7" pos="2794" userDrawn="1">
          <p15:clr>
            <a:srgbClr val="A4A3A4"/>
          </p15:clr>
        </p15:guide>
        <p15:guide id="8" pos="2340" userDrawn="1">
          <p15:clr>
            <a:srgbClr val="A4A3A4"/>
          </p15:clr>
        </p15:guide>
        <p15:guide id="9" pos="1887" userDrawn="1">
          <p15:clr>
            <a:srgbClr val="A4A3A4"/>
          </p15:clr>
        </p15:guide>
        <p15:guide id="10" pos="1433" userDrawn="1">
          <p15:clr>
            <a:srgbClr val="A4A3A4"/>
          </p15:clr>
        </p15:guide>
        <p15:guide id="11" pos="798" userDrawn="1">
          <p15:clr>
            <a:srgbClr val="A4A3A4"/>
          </p15:clr>
        </p15:guide>
        <p15:guide id="12" pos="208" userDrawn="1">
          <p15:clr>
            <a:srgbClr val="A4A3A4"/>
          </p15:clr>
        </p15:guide>
        <p15:guide id="13" pos="10051" userDrawn="1">
          <p15:clr>
            <a:srgbClr val="A4A3A4"/>
          </p15:clr>
        </p15:guide>
        <p15:guide id="14" pos="9734" userDrawn="1">
          <p15:clr>
            <a:srgbClr val="A4A3A4"/>
          </p15:clr>
        </p15:guide>
        <p15:guide id="15" pos="9190" userDrawn="1">
          <p15:clr>
            <a:srgbClr val="A4A3A4"/>
          </p15:clr>
        </p15:guide>
        <p15:guide id="16" pos="8781" userDrawn="1">
          <p15:clr>
            <a:srgbClr val="A4A3A4"/>
          </p15:clr>
        </p15:guide>
        <p15:guide id="17" pos="8373" userDrawn="1">
          <p15:clr>
            <a:srgbClr val="A4A3A4"/>
          </p15:clr>
        </p15:guide>
        <p15:guide id="18" pos="7920" userDrawn="1">
          <p15:clr>
            <a:srgbClr val="A4A3A4"/>
          </p15:clr>
        </p15:guide>
        <p15:guide id="19" pos="7466" userDrawn="1">
          <p15:clr>
            <a:srgbClr val="A4A3A4"/>
          </p15:clr>
        </p15:guide>
        <p15:guide id="20" pos="7012" userDrawn="1">
          <p15:clr>
            <a:srgbClr val="A4A3A4"/>
          </p15:clr>
        </p15:guide>
        <p15:guide id="21" pos="6332" userDrawn="1">
          <p15:clr>
            <a:srgbClr val="A4A3A4"/>
          </p15:clr>
        </p15:guide>
        <p15:guide id="22" orient="horz" pos="5558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mills" initials="a" lastIdx="21" clrIdx="0"/>
  <p:cmAuthor id="1" name="jaki porter" initials="jp" lastIdx="14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F66"/>
    <a:srgbClr val="FFD966"/>
    <a:srgbClr val="5B9BD5"/>
    <a:srgbClr val="006067"/>
    <a:srgbClr val="E45B5B"/>
    <a:srgbClr val="A5D3B7"/>
    <a:srgbClr val="495965"/>
    <a:srgbClr val="E6B71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E96A1FE-AD07-416E-BE49-5CF3EDC745FA}" v="1" dt="2021-01-29T13:13:56.236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793D81CF-94F2-401A-BA57-92F5A7B2D0C5}" styleName="Estilo Médio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434" autoAdjust="0"/>
    <p:restoredTop sz="97169" autoAdjust="0"/>
  </p:normalViewPr>
  <p:slideViewPr>
    <p:cSldViewPr>
      <p:cViewPr varScale="1">
        <p:scale>
          <a:sx n="41" d="100"/>
          <a:sy n="41" d="100"/>
        </p:scale>
        <p:origin x="708" y="78"/>
      </p:cViewPr>
      <p:guideLst>
        <p:guide orient="horz" pos="1566"/>
        <p:guide pos="10460"/>
        <p:guide pos="4336"/>
        <p:guide pos="4109"/>
        <p:guide pos="3701"/>
        <p:guide pos="3429"/>
        <p:guide pos="2794"/>
        <p:guide pos="2340"/>
        <p:guide pos="1887"/>
        <p:guide pos="1433"/>
        <p:guide pos="798"/>
        <p:guide pos="208"/>
        <p:guide pos="10051"/>
        <p:guide pos="9734"/>
        <p:guide pos="9190"/>
        <p:guide pos="8781"/>
        <p:guide pos="8373"/>
        <p:guide pos="7920"/>
        <p:guide pos="7466"/>
        <p:guide pos="7012"/>
        <p:guide pos="6332"/>
        <p:guide orient="horz" pos="5558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notesMaster" Target="notesMasters/notesMaster1.xml"/><Relationship Id="rId32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Felipe Alvares De Faria" userId="87c61fc5-1751-4d67-8ea9-fd0c01cc1d9e" providerId="ADAL" clId="{CE96A1FE-AD07-416E-BE49-5CF3EDC745FA}"/>
    <pc:docChg chg="modSld">
      <pc:chgData name="Felipe Alvares De Faria" userId="87c61fc5-1751-4d67-8ea9-fd0c01cc1d9e" providerId="ADAL" clId="{CE96A1FE-AD07-416E-BE49-5CF3EDC745FA}" dt="2021-01-29T13:47:44.858" v="10" actId="1036"/>
      <pc:docMkLst>
        <pc:docMk/>
      </pc:docMkLst>
      <pc:sldChg chg="addSp modSp">
        <pc:chgData name="Felipe Alvares De Faria" userId="87c61fc5-1751-4d67-8ea9-fd0c01cc1d9e" providerId="ADAL" clId="{CE96A1FE-AD07-416E-BE49-5CF3EDC745FA}" dt="2021-01-29T13:13:56.236" v="0" actId="164"/>
        <pc:sldMkLst>
          <pc:docMk/>
          <pc:sldMk cId="2353931328" sldId="611"/>
        </pc:sldMkLst>
        <pc:spChg chg="mod">
          <ac:chgData name="Felipe Alvares De Faria" userId="87c61fc5-1751-4d67-8ea9-fd0c01cc1d9e" providerId="ADAL" clId="{CE96A1FE-AD07-416E-BE49-5CF3EDC745FA}" dt="2021-01-29T13:13:56.236" v="0" actId="164"/>
          <ac:spMkLst>
            <pc:docMk/>
            <pc:sldMk cId="2353931328" sldId="611"/>
            <ac:spMk id="75" creationId="{00000000-0000-0000-0000-000000000000}"/>
          </ac:spMkLst>
        </pc:spChg>
        <pc:grpChg chg="add mod">
          <ac:chgData name="Felipe Alvares De Faria" userId="87c61fc5-1751-4d67-8ea9-fd0c01cc1d9e" providerId="ADAL" clId="{CE96A1FE-AD07-416E-BE49-5CF3EDC745FA}" dt="2021-01-29T13:13:56.236" v="0" actId="164"/>
          <ac:grpSpMkLst>
            <pc:docMk/>
            <pc:sldMk cId="2353931328" sldId="611"/>
            <ac:grpSpMk id="2" creationId="{39BFDADC-CB67-4A4B-B458-CFEE70FCE29E}"/>
          </ac:grpSpMkLst>
        </pc:grpChg>
        <pc:grpChg chg="mod">
          <ac:chgData name="Felipe Alvares De Faria" userId="87c61fc5-1751-4d67-8ea9-fd0c01cc1d9e" providerId="ADAL" clId="{CE96A1FE-AD07-416E-BE49-5CF3EDC745FA}" dt="2021-01-29T13:13:56.236" v="0" actId="164"/>
          <ac:grpSpMkLst>
            <pc:docMk/>
            <pc:sldMk cId="2353931328" sldId="611"/>
            <ac:grpSpMk id="12" creationId="{00000000-0000-0000-0000-000000000000}"/>
          </ac:grpSpMkLst>
        </pc:grpChg>
      </pc:sldChg>
      <pc:sldChg chg="addSp modSp mod">
        <pc:chgData name="Felipe Alvares De Faria" userId="87c61fc5-1751-4d67-8ea9-fd0c01cc1d9e" providerId="ADAL" clId="{CE96A1FE-AD07-416E-BE49-5CF3EDC745FA}" dt="2021-01-29T13:23:27.536" v="6" actId="1035"/>
        <pc:sldMkLst>
          <pc:docMk/>
          <pc:sldMk cId="3169489265" sldId="612"/>
        </pc:sldMkLst>
        <pc:spChg chg="mod">
          <ac:chgData name="Felipe Alvares De Faria" userId="87c61fc5-1751-4d67-8ea9-fd0c01cc1d9e" providerId="ADAL" clId="{CE96A1FE-AD07-416E-BE49-5CF3EDC745FA}" dt="2021-01-29T13:23:27.536" v="6" actId="1035"/>
          <ac:spMkLst>
            <pc:docMk/>
            <pc:sldMk cId="3169489265" sldId="612"/>
            <ac:spMk id="36" creationId="{00000000-0000-0000-0000-000000000000}"/>
          </ac:spMkLst>
        </pc:spChg>
        <pc:spChg chg="mod">
          <ac:chgData name="Felipe Alvares De Faria" userId="87c61fc5-1751-4d67-8ea9-fd0c01cc1d9e" providerId="ADAL" clId="{CE96A1FE-AD07-416E-BE49-5CF3EDC745FA}" dt="2021-01-29T13:23:27.536" v="6" actId="1035"/>
          <ac:spMkLst>
            <pc:docMk/>
            <pc:sldMk cId="3169489265" sldId="612"/>
            <ac:spMk id="41" creationId="{00000000-0000-0000-0000-000000000000}"/>
          </ac:spMkLst>
        </pc:spChg>
        <pc:spChg chg="mod">
          <ac:chgData name="Felipe Alvares De Faria" userId="87c61fc5-1751-4d67-8ea9-fd0c01cc1d9e" providerId="ADAL" clId="{CE96A1FE-AD07-416E-BE49-5CF3EDC745FA}" dt="2021-01-29T13:16:52.663" v="1" actId="164"/>
          <ac:spMkLst>
            <pc:docMk/>
            <pc:sldMk cId="3169489265" sldId="612"/>
            <ac:spMk id="47" creationId="{00000000-0000-0000-0000-000000000000}"/>
          </ac:spMkLst>
        </pc:spChg>
        <pc:spChg chg="mod">
          <ac:chgData name="Felipe Alvares De Faria" userId="87c61fc5-1751-4d67-8ea9-fd0c01cc1d9e" providerId="ADAL" clId="{CE96A1FE-AD07-416E-BE49-5CF3EDC745FA}" dt="2021-01-29T13:16:52.663" v="1" actId="164"/>
          <ac:spMkLst>
            <pc:docMk/>
            <pc:sldMk cId="3169489265" sldId="612"/>
            <ac:spMk id="48" creationId="{00000000-0000-0000-0000-000000000000}"/>
          </ac:spMkLst>
        </pc:spChg>
        <pc:spChg chg="mod">
          <ac:chgData name="Felipe Alvares De Faria" userId="87c61fc5-1751-4d67-8ea9-fd0c01cc1d9e" providerId="ADAL" clId="{CE96A1FE-AD07-416E-BE49-5CF3EDC745FA}" dt="2021-01-29T13:16:52.663" v="1" actId="164"/>
          <ac:spMkLst>
            <pc:docMk/>
            <pc:sldMk cId="3169489265" sldId="612"/>
            <ac:spMk id="49" creationId="{00000000-0000-0000-0000-000000000000}"/>
          </ac:spMkLst>
        </pc:spChg>
        <pc:grpChg chg="add mod">
          <ac:chgData name="Felipe Alvares De Faria" userId="87c61fc5-1751-4d67-8ea9-fd0c01cc1d9e" providerId="ADAL" clId="{CE96A1FE-AD07-416E-BE49-5CF3EDC745FA}" dt="2021-01-29T13:16:52.663" v="1" actId="164"/>
          <ac:grpSpMkLst>
            <pc:docMk/>
            <pc:sldMk cId="3169489265" sldId="612"/>
            <ac:grpSpMk id="2" creationId="{D2862F93-2877-461A-A931-F0704A77E818}"/>
          </ac:grpSpMkLst>
        </pc:grpChg>
        <pc:grpChg chg="add mod">
          <ac:chgData name="Felipe Alvares De Faria" userId="87c61fc5-1751-4d67-8ea9-fd0c01cc1d9e" providerId="ADAL" clId="{CE96A1FE-AD07-416E-BE49-5CF3EDC745FA}" dt="2021-01-29T13:20:35.154" v="4" actId="1076"/>
          <ac:grpSpMkLst>
            <pc:docMk/>
            <pc:sldMk cId="3169489265" sldId="612"/>
            <ac:grpSpMk id="3" creationId="{EA66563F-0260-4434-BED1-D580E268AC9A}"/>
          </ac:grpSpMkLst>
        </pc:grpChg>
        <pc:picChg chg="mod">
          <ac:chgData name="Felipe Alvares De Faria" userId="87c61fc5-1751-4d67-8ea9-fd0c01cc1d9e" providerId="ADAL" clId="{CE96A1FE-AD07-416E-BE49-5CF3EDC745FA}" dt="2021-01-29T13:20:35.154" v="4" actId="1076"/>
          <ac:picMkLst>
            <pc:docMk/>
            <pc:sldMk cId="3169489265" sldId="612"/>
            <ac:picMk id="36867" creationId="{00000000-0000-0000-0000-000000000000}"/>
          </ac:picMkLst>
        </pc:picChg>
        <pc:cxnChg chg="mod">
          <ac:chgData name="Felipe Alvares De Faria" userId="87c61fc5-1751-4d67-8ea9-fd0c01cc1d9e" providerId="ADAL" clId="{CE96A1FE-AD07-416E-BE49-5CF3EDC745FA}" dt="2021-01-29T13:23:27.536" v="6" actId="1035"/>
          <ac:cxnSpMkLst>
            <pc:docMk/>
            <pc:sldMk cId="3169489265" sldId="612"/>
            <ac:cxnSpMk id="35" creationId="{00000000-0000-0000-0000-000000000000}"/>
          </ac:cxnSpMkLst>
        </pc:cxnChg>
        <pc:cxnChg chg="mod">
          <ac:chgData name="Felipe Alvares De Faria" userId="87c61fc5-1751-4d67-8ea9-fd0c01cc1d9e" providerId="ADAL" clId="{CE96A1FE-AD07-416E-BE49-5CF3EDC745FA}" dt="2021-01-29T13:23:27.536" v="6" actId="1035"/>
          <ac:cxnSpMkLst>
            <pc:docMk/>
            <pc:sldMk cId="3169489265" sldId="612"/>
            <ac:cxnSpMk id="40" creationId="{00000000-0000-0000-0000-000000000000}"/>
          </ac:cxnSpMkLst>
        </pc:cxnChg>
      </pc:sldChg>
      <pc:sldChg chg="modSp">
        <pc:chgData name="Felipe Alvares De Faria" userId="87c61fc5-1751-4d67-8ea9-fd0c01cc1d9e" providerId="ADAL" clId="{CE96A1FE-AD07-416E-BE49-5CF3EDC745FA}" dt="2021-01-29T13:47:44.858" v="10" actId="1036"/>
        <pc:sldMkLst>
          <pc:docMk/>
          <pc:sldMk cId="1587837221" sldId="621"/>
        </pc:sldMkLst>
        <pc:picChg chg="mod">
          <ac:chgData name="Felipe Alvares De Faria" userId="87c61fc5-1751-4d67-8ea9-fd0c01cc1d9e" providerId="ADAL" clId="{CE96A1FE-AD07-416E-BE49-5CF3EDC745FA}" dt="2021-01-29T13:47:44.858" v="10" actId="1036"/>
          <ac:picMkLst>
            <pc:docMk/>
            <pc:sldMk cId="1587837221" sldId="621"/>
            <ac:picMk id="37" creationId="{00000000-0000-0000-0000-000000000000}"/>
          </ac:picMkLst>
        </pc:picChg>
      </pc:sldChg>
    </pc:docChg>
  </pc:docChgLst>
  <pc:docChgLst>
    <pc:chgData name="Daniel Lopes Martins" userId="d6f1f526-ac7f-4d4e-b202-ea9dac23502a" providerId="ADAL" clId="{DB98DEFF-5831-4D6A-AB59-8CF9F9A38BFA}"/>
    <pc:docChg chg="undo custSel addSld delSld modSld modSection">
      <pc:chgData name="Daniel Lopes Martins" userId="d6f1f526-ac7f-4d4e-b202-ea9dac23502a" providerId="ADAL" clId="{DB98DEFF-5831-4D6A-AB59-8CF9F9A38BFA}" dt="2018-12-09T12:31:48.904" v="38" actId="478"/>
      <pc:docMkLst>
        <pc:docMk/>
      </pc:docMkLst>
      <pc:sldChg chg="addSp delSp">
        <pc:chgData name="Daniel Lopes Martins" userId="d6f1f526-ac7f-4d4e-b202-ea9dac23502a" providerId="ADAL" clId="{DB98DEFF-5831-4D6A-AB59-8CF9F9A38BFA}" dt="2018-12-09T12:31:48.904" v="38" actId="478"/>
        <pc:sldMkLst>
          <pc:docMk/>
          <pc:sldMk cId="3112287247" sldId="256"/>
        </pc:sldMkLst>
        <pc:spChg chg="add del">
          <ac:chgData name="Daniel Lopes Martins" userId="d6f1f526-ac7f-4d4e-b202-ea9dac23502a" providerId="ADAL" clId="{DB98DEFF-5831-4D6A-AB59-8CF9F9A38BFA}" dt="2018-12-09T12:31:48.904" v="38" actId="478"/>
          <ac:spMkLst>
            <pc:docMk/>
            <pc:sldMk cId="3112287247" sldId="256"/>
            <ac:spMk id="10" creationId="{B8A5F2CF-2416-45A3-A983-F1839622AD7F}"/>
          </ac:spMkLst>
        </pc:spChg>
      </pc:sldChg>
      <pc:sldChg chg="addSp delSp modSp add del">
        <pc:chgData name="Daniel Lopes Martins" userId="d6f1f526-ac7f-4d4e-b202-ea9dac23502a" providerId="ADAL" clId="{DB98DEFF-5831-4D6A-AB59-8CF9F9A38BFA}" dt="2018-12-09T12:29:20.880" v="15" actId="2696"/>
        <pc:sldMkLst>
          <pc:docMk/>
          <pc:sldMk cId="2453102082" sldId="587"/>
        </pc:sldMkLst>
        <pc:spChg chg="add">
          <ac:chgData name="Daniel Lopes Martins" userId="d6f1f526-ac7f-4d4e-b202-ea9dac23502a" providerId="ADAL" clId="{DB98DEFF-5831-4D6A-AB59-8CF9F9A38BFA}" dt="2018-12-09T12:28:55.435" v="7"/>
          <ac:spMkLst>
            <pc:docMk/>
            <pc:sldMk cId="2453102082" sldId="587"/>
            <ac:spMk id="9" creationId="{C3E8838C-F3AE-4819-8CB3-C858E26FF0BD}"/>
          </ac:spMkLst>
        </pc:spChg>
        <pc:spChg chg="del">
          <ac:chgData name="Daniel Lopes Martins" userId="d6f1f526-ac7f-4d4e-b202-ea9dac23502a" providerId="ADAL" clId="{DB98DEFF-5831-4D6A-AB59-8CF9F9A38BFA}" dt="2018-12-09T12:28:54.604" v="6"/>
          <ac:spMkLst>
            <pc:docMk/>
            <pc:sldMk cId="2453102082" sldId="587"/>
            <ac:spMk id="13" creationId="{00000000-0000-0000-0000-000000000000}"/>
          </ac:spMkLst>
        </pc:spChg>
        <pc:grpChg chg="add del mod">
          <ac:chgData name="Daniel Lopes Martins" userId="d6f1f526-ac7f-4d4e-b202-ea9dac23502a" providerId="ADAL" clId="{DB98DEFF-5831-4D6A-AB59-8CF9F9A38BFA}" dt="2018-12-09T12:29:05.497" v="10" actId="478"/>
          <ac:grpSpMkLst>
            <pc:docMk/>
            <pc:sldMk cId="2453102082" sldId="587"/>
            <ac:grpSpMk id="3" creationId="{00000000-0000-0000-0000-000000000000}"/>
          </ac:grpSpMkLst>
        </pc:grpChg>
        <pc:picChg chg="del">
          <ac:chgData name="Daniel Lopes Martins" userId="d6f1f526-ac7f-4d4e-b202-ea9dac23502a" providerId="ADAL" clId="{DB98DEFF-5831-4D6A-AB59-8CF9F9A38BFA}" dt="2018-12-09T12:27:50.492" v="3" actId="478"/>
          <ac:picMkLst>
            <pc:docMk/>
            <pc:sldMk cId="2453102082" sldId="587"/>
            <ac:picMk id="21" creationId="{00000000-0000-0000-0000-000000000000}"/>
          </ac:picMkLst>
        </pc:picChg>
      </pc:sldChg>
      <pc:sldChg chg="addSp delSp modSp add">
        <pc:chgData name="Daniel Lopes Martins" userId="d6f1f526-ac7f-4d4e-b202-ea9dac23502a" providerId="ADAL" clId="{DB98DEFF-5831-4D6A-AB59-8CF9F9A38BFA}" dt="2018-12-09T12:31:18.143" v="34" actId="14100"/>
        <pc:sldMkLst>
          <pc:docMk/>
          <pc:sldMk cId="2946133365" sldId="588"/>
        </pc:sldMkLst>
        <pc:spChg chg="add del mod">
          <ac:chgData name="Daniel Lopes Martins" userId="d6f1f526-ac7f-4d4e-b202-ea9dac23502a" providerId="ADAL" clId="{DB98DEFF-5831-4D6A-AB59-8CF9F9A38BFA}" dt="2018-12-09T12:29:18.379" v="14" actId="478"/>
          <ac:spMkLst>
            <pc:docMk/>
            <pc:sldMk cId="2946133365" sldId="588"/>
            <ac:spMk id="3" creationId="{D7E0C73D-5694-4138-A6F3-A9F3924B5E8F}"/>
          </ac:spMkLst>
        </pc:spChg>
        <pc:spChg chg="add mod">
          <ac:chgData name="Daniel Lopes Martins" userId="d6f1f526-ac7f-4d4e-b202-ea9dac23502a" providerId="ADAL" clId="{DB98DEFF-5831-4D6A-AB59-8CF9F9A38BFA}" dt="2018-12-09T12:30:24.770" v="30" actId="1076"/>
          <ac:spMkLst>
            <pc:docMk/>
            <pc:sldMk cId="2946133365" sldId="588"/>
            <ac:spMk id="8" creationId="{92BBD7BB-D8FC-4F8C-BBF3-3A12CDFB8784}"/>
          </ac:spMkLst>
        </pc:spChg>
        <pc:spChg chg="del">
          <ac:chgData name="Daniel Lopes Martins" userId="d6f1f526-ac7f-4d4e-b202-ea9dac23502a" providerId="ADAL" clId="{DB98DEFF-5831-4D6A-AB59-8CF9F9A38BFA}" dt="2018-12-09T12:29:15.874" v="12" actId="478"/>
          <ac:spMkLst>
            <pc:docMk/>
            <pc:sldMk cId="2946133365" sldId="588"/>
            <ac:spMk id="9" creationId="{00000000-0000-0000-0000-000000000000}"/>
          </ac:spMkLst>
        </pc:spChg>
        <pc:picChg chg="add mod">
          <ac:chgData name="Daniel Lopes Martins" userId="d6f1f526-ac7f-4d4e-b202-ea9dac23502a" providerId="ADAL" clId="{DB98DEFF-5831-4D6A-AB59-8CF9F9A38BFA}" dt="2018-12-09T12:30:14.335" v="28" actId="1036"/>
          <ac:picMkLst>
            <pc:docMk/>
            <pc:sldMk cId="2946133365" sldId="588"/>
            <ac:picMk id="5" creationId="{4CA86A42-3D4B-44D2-9C1F-11081AE5AF01}"/>
          </ac:picMkLst>
        </pc:picChg>
        <pc:picChg chg="add mod">
          <ac:chgData name="Daniel Lopes Martins" userId="d6f1f526-ac7f-4d4e-b202-ea9dac23502a" providerId="ADAL" clId="{DB98DEFF-5831-4D6A-AB59-8CF9F9A38BFA}" dt="2018-12-09T12:31:18.143" v="34" actId="14100"/>
          <ac:picMkLst>
            <pc:docMk/>
            <pc:sldMk cId="2946133365" sldId="588"/>
            <ac:picMk id="10" creationId="{964A4238-E2DE-48F6-9034-A47534EED088}"/>
          </ac:picMkLst>
        </pc:picChg>
      </pc:sldChg>
      <pc:sldChg chg="add del">
        <pc:chgData name="Daniel Lopes Martins" userId="d6f1f526-ac7f-4d4e-b202-ea9dac23502a" providerId="ADAL" clId="{DB98DEFF-5831-4D6A-AB59-8CF9F9A38BFA}" dt="2018-12-09T12:31:42.189" v="36" actId="2696"/>
        <pc:sldMkLst>
          <pc:docMk/>
          <pc:sldMk cId="850243454" sldId="589"/>
        </pc:sldMkLst>
      </pc:sldChg>
      <pc:sldMasterChg chg="delSldLayout">
        <pc:chgData name="Daniel Lopes Martins" userId="d6f1f526-ac7f-4d4e-b202-ea9dac23502a" providerId="ADAL" clId="{DB98DEFF-5831-4D6A-AB59-8CF9F9A38BFA}" dt="2018-12-09T12:29:20.882" v="16" actId="2696"/>
        <pc:sldMasterMkLst>
          <pc:docMk/>
          <pc:sldMasterMk cId="1714282868" sldId="2147483666"/>
        </pc:sldMasterMkLst>
        <pc:sldLayoutChg chg="del">
          <pc:chgData name="Daniel Lopes Martins" userId="d6f1f526-ac7f-4d4e-b202-ea9dac23502a" providerId="ADAL" clId="{DB98DEFF-5831-4D6A-AB59-8CF9F9A38BFA}" dt="2018-12-09T12:29:20.882" v="16" actId="2696"/>
          <pc:sldLayoutMkLst>
            <pc:docMk/>
            <pc:sldMasterMk cId="1714282868" sldId="2147483666"/>
            <pc:sldLayoutMk cId="499828208" sldId="2147483712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8712200" cy="5667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11387138" y="0"/>
            <a:ext cx="8712200" cy="5667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F3DF56-F9C3-6742-BBB6-3EE105355439}" type="datetimeFigureOut">
              <a:rPr lang="en-US" smtClean="0"/>
              <a:t>1/29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659563" y="1414463"/>
            <a:ext cx="6784975" cy="38163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009775" y="5441950"/>
            <a:ext cx="16084550" cy="44545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10742613"/>
            <a:ext cx="8712200" cy="5667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11387138" y="10742613"/>
            <a:ext cx="8712200" cy="5667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55024FE-91D9-8240-931D-07C533A2173D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73477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5024FE-91D9-8240-931D-07C533A2173D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93111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5024FE-91D9-8240-931D-07C533A2173D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93111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5024FE-91D9-8240-931D-07C533A2173D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93111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5024FE-91D9-8240-931D-07C533A2173D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93111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5024FE-91D9-8240-931D-07C533A2173D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93111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5024FE-91D9-8240-931D-07C533A2173D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93111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5024FE-91D9-8240-931D-07C533A2173D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93111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5024FE-91D9-8240-931D-07C533A2173D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93111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5024FE-91D9-8240-931D-07C533A2173D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93111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5024FE-91D9-8240-931D-07C533A2173D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2248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5024FE-91D9-8240-931D-07C533A2173D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93111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5024FE-91D9-8240-931D-07C533A2173D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93111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5024FE-91D9-8240-931D-07C533A2173D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93111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5024FE-91D9-8240-931D-07C533A2173D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93111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5024FE-91D9-8240-931D-07C533A2173D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93111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5024FE-91D9-8240-931D-07C533A2173D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93111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5024FE-91D9-8240-931D-07C533A2173D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93111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5024FE-91D9-8240-931D-07C533A2173D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9311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3.png"/><Relationship Id="rId4" Type="http://schemas.openxmlformats.org/officeDocument/2006/relationships/image" Target="../media/image5.emf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k object 16"/>
          <p:cNvSpPr/>
          <p:nvPr/>
        </p:nvSpPr>
        <p:spPr>
          <a:xfrm>
            <a:off x="7539039" y="9"/>
            <a:ext cx="12565381" cy="11308715"/>
          </a:xfrm>
          <a:custGeom>
            <a:avLst/>
            <a:gdLst/>
            <a:ahLst/>
            <a:cxnLst/>
            <a:rect l="l" t="t" r="r" b="b"/>
            <a:pathLst>
              <a:path w="12565380" h="11308715">
                <a:moveTo>
                  <a:pt x="12565062" y="11308556"/>
                </a:moveTo>
                <a:lnTo>
                  <a:pt x="0" y="11308556"/>
                </a:lnTo>
                <a:lnTo>
                  <a:pt x="0" y="0"/>
                </a:lnTo>
                <a:lnTo>
                  <a:pt x="12565062" y="0"/>
                </a:lnTo>
                <a:lnTo>
                  <a:pt x="12565062" y="11308556"/>
                </a:lnTo>
                <a:close/>
              </a:path>
            </a:pathLst>
          </a:custGeom>
          <a:solidFill>
            <a:srgbClr val="C6B8AC"/>
          </a:solidFill>
        </p:spPr>
        <p:txBody>
          <a:bodyPr wrap="square" lIns="0" tIns="0" rIns="0" bIns="0" rtlCol="0"/>
          <a:lstStyle/>
          <a:p>
            <a:endParaRPr sz="1801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0750" y="5137332"/>
            <a:ext cx="10293273" cy="914609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>
              <a:defRPr sz="5937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0750" y="7567618"/>
            <a:ext cx="10167622" cy="461345"/>
          </a:xfrm>
        </p:spPr>
        <p:txBody>
          <a:bodyPr>
            <a:spAutoFit/>
          </a:bodyPr>
          <a:lstStyle>
            <a:lvl1pPr marL="0" indent="0">
              <a:buNone/>
              <a:defRPr sz="2398">
                <a:solidFill>
                  <a:srgbClr val="485865"/>
                </a:solidFill>
              </a:defRPr>
            </a:lvl1pPr>
            <a:lvl2pPr marL="45724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78" indent="0">
              <a:buNone/>
              <a:defRPr sz="1801">
                <a:solidFill>
                  <a:schemeClr val="tx1">
                    <a:tint val="75000"/>
                  </a:schemeClr>
                </a:solidFill>
              </a:defRPr>
            </a:lvl3pPr>
            <a:lvl4pPr marL="137171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95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19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43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67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9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028" name="Picture 4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79042" y="2630339"/>
            <a:ext cx="5985666" cy="27363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Imagem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996" y="6156104"/>
            <a:ext cx="6408712" cy="360471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63201" y="1339109"/>
            <a:ext cx="17056800" cy="91460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5937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5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1663203" y="9921875"/>
            <a:ext cx="17173827" cy="381000"/>
          </a:xfrm>
        </p:spPr>
        <p:txBody>
          <a:bodyPr>
            <a:normAutofit/>
          </a:bodyPr>
          <a:lstStyle>
            <a:lvl1pPr marL="20943" indent="0">
              <a:buNone/>
              <a:defRPr sz="1600" i="1"/>
            </a:lvl1pPr>
            <a:lvl5pPr algn="l">
              <a:defRPr/>
            </a:lvl5pPr>
          </a:lstStyle>
          <a:p>
            <a:pPr lvl="0"/>
            <a:r>
              <a:rPr lang="en-US" dirty="0"/>
              <a:t>Data Credit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half" idx="2"/>
          </p:nvPr>
        </p:nvSpPr>
        <p:spPr>
          <a:xfrm>
            <a:off x="1663200" y="2732401"/>
            <a:ext cx="8460858" cy="1892762"/>
          </a:xfrm>
        </p:spPr>
        <p:txBody>
          <a:bodyPr/>
          <a:lstStyle>
            <a:lvl1pPr>
              <a:defRPr lang="en-US" sz="2968" kern="1200" baseline="0" dirty="0" smtClean="0">
                <a:solidFill>
                  <a:srgbClr val="485865"/>
                </a:solidFill>
                <a:latin typeface="Trebuchet MS" charset="0"/>
                <a:ea typeface="Trebuchet MS" charset="0"/>
                <a:cs typeface="Trebuchet MS" charset="0"/>
              </a:defRPr>
            </a:lvl1pPr>
            <a:lvl2pPr marL="685859" indent="-228620">
              <a:buFont typeface=".AppleSystemUIFont" charset="-120"/>
              <a:buChar char="-"/>
              <a:defRPr lang="en-US" sz="2400" b="0" i="0" kern="1200" baseline="0" dirty="0" smtClean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2pPr>
            <a:lvl3pPr marL="1143098" indent="-228620">
              <a:buFont typeface=".AppleSystemUIFont" charset="-120"/>
              <a:buChar char="-"/>
              <a:defRPr/>
            </a:lvl3pPr>
            <a:lvl4pPr marL="1600339" indent="-228620">
              <a:buFont typeface=".AppleSystemUIFont" charset="-120"/>
              <a:buChar char="-"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10260001" y="2732400"/>
            <a:ext cx="8460000" cy="6732586"/>
          </a:xfrm>
        </p:spPr>
        <p:txBody>
          <a:bodyPr anchor="ctr" anchorCtr="1">
            <a:normAutofit/>
          </a:bodyPr>
          <a:lstStyle/>
          <a:p>
            <a:r>
              <a:rPr lang="en-US" dirty="0"/>
              <a:t>Click icon to add picture</a:t>
            </a:r>
          </a:p>
        </p:txBody>
      </p:sp>
      <p:pic>
        <p:nvPicPr>
          <p:cNvPr id="7" name="Imagem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08634" y="11209"/>
            <a:ext cx="2520280" cy="141758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1699203" y="2520004"/>
            <a:ext cx="15760701" cy="7153753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1" marR="143522">
              <a:lnSpc>
                <a:spcPct val="140900"/>
              </a:lnSpc>
              <a:spcBef>
                <a:spcPts val="96"/>
              </a:spcBef>
              <a:tabLst>
                <a:tab pos="4941364" algn="l"/>
                <a:tab pos="5363042" algn="l"/>
              </a:tabLst>
            </a:pPr>
            <a:r>
              <a:rPr sz="1949" i="1" spc="5" dirty="0">
                <a:solidFill>
                  <a:srgbClr val="485865"/>
                </a:solidFill>
                <a:latin typeface="Trebuchet MS"/>
                <a:cs typeface="Trebuchet MS"/>
              </a:rPr>
              <a:t>“The information in this </a:t>
            </a:r>
            <a:r>
              <a:rPr sz="1949" i="1" dirty="0">
                <a:solidFill>
                  <a:srgbClr val="485865"/>
                </a:solidFill>
                <a:latin typeface="Trebuchet MS"/>
                <a:cs typeface="Trebuchet MS"/>
              </a:rPr>
              <a:t>presentation </a:t>
            </a:r>
            <a:r>
              <a:rPr sz="1949" i="1" spc="5" dirty="0">
                <a:solidFill>
                  <a:srgbClr val="485865"/>
                </a:solidFill>
                <a:latin typeface="Trebuchet MS"/>
                <a:cs typeface="Trebuchet MS"/>
              </a:rPr>
              <a:t>has been prepared by </a:t>
            </a:r>
            <a:r>
              <a:rPr sz="1949" i="1" spc="11" dirty="0">
                <a:solidFill>
                  <a:srgbClr val="485865"/>
                </a:solidFill>
                <a:latin typeface="Trebuchet MS"/>
                <a:cs typeface="Trebuchet MS"/>
              </a:rPr>
              <a:t>CBMM </a:t>
            </a:r>
            <a:r>
              <a:rPr sz="1949" i="1" spc="5" dirty="0">
                <a:solidFill>
                  <a:srgbClr val="485865"/>
                </a:solidFill>
                <a:latin typeface="Trebuchet MS"/>
                <a:cs typeface="Trebuchet MS"/>
              </a:rPr>
              <a:t>– </a:t>
            </a:r>
            <a:r>
              <a:rPr sz="1949" i="1" spc="11" dirty="0">
                <a:solidFill>
                  <a:srgbClr val="485865"/>
                </a:solidFill>
                <a:latin typeface="Trebuchet MS"/>
                <a:cs typeface="Trebuchet MS"/>
              </a:rPr>
              <a:t>CBMM Europe </a:t>
            </a:r>
            <a:r>
              <a:rPr sz="1949" i="1" spc="-55" dirty="0">
                <a:solidFill>
                  <a:srgbClr val="485865"/>
                </a:solidFill>
                <a:latin typeface="Trebuchet MS"/>
                <a:cs typeface="Trebuchet MS"/>
              </a:rPr>
              <a:t>B.V. </a:t>
            </a:r>
            <a:r>
              <a:rPr sz="1949" i="1" dirty="0">
                <a:solidFill>
                  <a:srgbClr val="485865"/>
                </a:solidFill>
                <a:latin typeface="Trebuchet MS"/>
                <a:cs typeface="Trebuchet MS"/>
              </a:rPr>
              <a:t>(the </a:t>
            </a:r>
            <a:r>
              <a:rPr sz="1949" i="1" spc="5" dirty="0">
                <a:solidFill>
                  <a:srgbClr val="485865"/>
                </a:solidFill>
                <a:latin typeface="Trebuchet MS"/>
                <a:cs typeface="Trebuchet MS"/>
              </a:rPr>
              <a:t>“Company”) with the only </a:t>
            </a:r>
            <a:r>
              <a:rPr sz="1949" i="1" dirty="0">
                <a:solidFill>
                  <a:srgbClr val="485865"/>
                </a:solidFill>
                <a:latin typeface="Trebuchet MS"/>
                <a:cs typeface="Trebuchet MS"/>
              </a:rPr>
              <a:t>purposes </a:t>
            </a:r>
            <a:r>
              <a:rPr sz="1949" i="1" spc="5" dirty="0">
                <a:solidFill>
                  <a:srgbClr val="485865"/>
                </a:solidFill>
                <a:latin typeface="Trebuchet MS"/>
                <a:cs typeface="Trebuchet MS"/>
              </a:rPr>
              <a:t>of  introducing the </a:t>
            </a:r>
            <a:r>
              <a:rPr sz="1949" i="1" spc="-5" dirty="0">
                <a:solidFill>
                  <a:srgbClr val="485865"/>
                </a:solidFill>
                <a:latin typeface="Trebuchet MS"/>
                <a:cs typeface="Trebuchet MS"/>
              </a:rPr>
              <a:t>company’s </a:t>
            </a:r>
            <a:r>
              <a:rPr sz="1949" i="1" dirty="0">
                <a:solidFill>
                  <a:srgbClr val="485865"/>
                </a:solidFill>
                <a:latin typeface="Trebuchet MS"/>
                <a:cs typeface="Trebuchet MS"/>
              </a:rPr>
              <a:t>activities,</a:t>
            </a:r>
            <a:r>
              <a:rPr sz="1949" i="1" spc="87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sz="1949" i="1" spc="5" dirty="0">
                <a:solidFill>
                  <a:srgbClr val="485865"/>
                </a:solidFill>
                <a:latin typeface="Trebuchet MS"/>
                <a:cs typeface="Trebuchet MS"/>
              </a:rPr>
              <a:t>in</a:t>
            </a:r>
            <a:r>
              <a:rPr sz="1949" i="1" spc="25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sz="1949" i="1" spc="5" dirty="0">
                <a:solidFill>
                  <a:srgbClr val="485865"/>
                </a:solidFill>
                <a:latin typeface="Trebuchet MS"/>
                <a:cs typeface="Trebuchet MS"/>
              </a:rPr>
              <a:t>2017.	This document and its contents are </a:t>
            </a:r>
            <a:r>
              <a:rPr sz="1949" i="1" dirty="0">
                <a:solidFill>
                  <a:srgbClr val="485865"/>
                </a:solidFill>
                <a:latin typeface="Trebuchet MS"/>
                <a:cs typeface="Trebuchet MS"/>
              </a:rPr>
              <a:t>confidential </a:t>
            </a:r>
            <a:r>
              <a:rPr sz="1949" i="1" spc="5" dirty="0">
                <a:solidFill>
                  <a:srgbClr val="485865"/>
                </a:solidFill>
                <a:latin typeface="Trebuchet MS"/>
                <a:cs typeface="Trebuchet MS"/>
              </a:rPr>
              <a:t>and are being </a:t>
            </a:r>
            <a:r>
              <a:rPr sz="1949" i="1" dirty="0">
                <a:solidFill>
                  <a:srgbClr val="485865"/>
                </a:solidFill>
                <a:latin typeface="Trebuchet MS"/>
                <a:cs typeface="Trebuchet MS"/>
              </a:rPr>
              <a:t>provided </a:t>
            </a:r>
            <a:r>
              <a:rPr sz="1949" i="1" spc="5" dirty="0">
                <a:solidFill>
                  <a:srgbClr val="485865"/>
                </a:solidFill>
                <a:latin typeface="Trebuchet MS"/>
                <a:cs typeface="Trebuchet MS"/>
              </a:rPr>
              <a:t>to you</a:t>
            </a:r>
            <a:r>
              <a:rPr sz="1949" i="1" spc="15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sz="1949" i="1" spc="5" dirty="0">
                <a:solidFill>
                  <a:srgbClr val="485865"/>
                </a:solidFill>
                <a:latin typeface="Trebuchet MS"/>
                <a:cs typeface="Trebuchet MS"/>
              </a:rPr>
              <a:t>solely</a:t>
            </a:r>
            <a:r>
              <a:rPr sz="1949" i="1" dirty="0">
                <a:solidFill>
                  <a:srgbClr val="485865"/>
                </a:solidFill>
                <a:latin typeface="Trebuchet MS"/>
                <a:cs typeface="Trebuchet MS"/>
              </a:rPr>
              <a:t> for  </a:t>
            </a:r>
            <a:r>
              <a:rPr sz="1949" i="1" spc="5" dirty="0">
                <a:solidFill>
                  <a:srgbClr val="485865"/>
                </a:solidFill>
                <a:latin typeface="Trebuchet MS"/>
                <a:cs typeface="Trebuchet MS"/>
              </a:rPr>
              <a:t>your information and may not be reproduced, retransmitted, </a:t>
            </a:r>
            <a:r>
              <a:rPr sz="1949" i="1" dirty="0">
                <a:solidFill>
                  <a:srgbClr val="485865"/>
                </a:solidFill>
                <a:latin typeface="Trebuchet MS"/>
                <a:cs typeface="Trebuchet MS"/>
              </a:rPr>
              <a:t>further distributed </a:t>
            </a:r>
            <a:r>
              <a:rPr sz="1949" i="1" spc="5" dirty="0">
                <a:solidFill>
                  <a:srgbClr val="485865"/>
                </a:solidFill>
                <a:latin typeface="Trebuchet MS"/>
                <a:cs typeface="Trebuchet MS"/>
              </a:rPr>
              <a:t>to any other person or </a:t>
            </a:r>
            <a:r>
              <a:rPr sz="1949" i="1" dirty="0">
                <a:solidFill>
                  <a:srgbClr val="485865"/>
                </a:solidFill>
                <a:latin typeface="Trebuchet MS"/>
                <a:cs typeface="Trebuchet MS"/>
              </a:rPr>
              <a:t>published, </a:t>
            </a:r>
            <a:r>
              <a:rPr sz="1949" i="1" spc="5" dirty="0">
                <a:solidFill>
                  <a:srgbClr val="485865"/>
                </a:solidFill>
                <a:latin typeface="Trebuchet MS"/>
                <a:cs typeface="Trebuchet MS"/>
              </a:rPr>
              <a:t>in whole or in </a:t>
            </a:r>
            <a:r>
              <a:rPr sz="1949" i="1" dirty="0">
                <a:solidFill>
                  <a:srgbClr val="485865"/>
                </a:solidFill>
                <a:latin typeface="Trebuchet MS"/>
                <a:cs typeface="Trebuchet MS"/>
              </a:rPr>
              <a:t>part,  </a:t>
            </a:r>
            <a:r>
              <a:rPr sz="1949" i="1" spc="5" dirty="0">
                <a:solidFill>
                  <a:srgbClr val="485865"/>
                </a:solidFill>
                <a:latin typeface="Trebuchet MS"/>
                <a:cs typeface="Trebuchet MS"/>
              </a:rPr>
              <a:t>by any medium or in any form </a:t>
            </a:r>
            <a:r>
              <a:rPr sz="1949" i="1" dirty="0">
                <a:solidFill>
                  <a:srgbClr val="485865"/>
                </a:solidFill>
                <a:latin typeface="Trebuchet MS"/>
                <a:cs typeface="Trebuchet MS"/>
              </a:rPr>
              <a:t>for </a:t>
            </a:r>
            <a:r>
              <a:rPr sz="1949" i="1" spc="5" dirty="0">
                <a:solidFill>
                  <a:srgbClr val="485865"/>
                </a:solidFill>
                <a:latin typeface="Trebuchet MS"/>
                <a:cs typeface="Trebuchet MS"/>
              </a:rPr>
              <a:t>any </a:t>
            </a:r>
            <a:r>
              <a:rPr sz="1949" i="1" dirty="0">
                <a:solidFill>
                  <a:srgbClr val="485865"/>
                </a:solidFill>
                <a:latin typeface="Trebuchet MS"/>
                <a:cs typeface="Trebuchet MS"/>
              </a:rPr>
              <a:t>purpose. </a:t>
            </a:r>
            <a:r>
              <a:rPr sz="1949" i="1" spc="11" dirty="0">
                <a:solidFill>
                  <a:srgbClr val="485865"/>
                </a:solidFill>
                <a:latin typeface="Trebuchet MS"/>
                <a:cs typeface="Trebuchet MS"/>
              </a:rPr>
              <a:t>The </a:t>
            </a:r>
            <a:r>
              <a:rPr sz="1949" i="1" spc="5" dirty="0">
                <a:solidFill>
                  <a:srgbClr val="485865"/>
                </a:solidFill>
                <a:latin typeface="Trebuchet MS"/>
                <a:cs typeface="Trebuchet MS"/>
              </a:rPr>
              <a:t>opinions </a:t>
            </a:r>
            <a:r>
              <a:rPr sz="1949" i="1" dirty="0">
                <a:solidFill>
                  <a:srgbClr val="485865"/>
                </a:solidFill>
                <a:latin typeface="Trebuchet MS"/>
                <a:cs typeface="Trebuchet MS"/>
              </a:rPr>
              <a:t>presented herein </a:t>
            </a:r>
            <a:r>
              <a:rPr sz="1949" i="1" spc="5" dirty="0">
                <a:solidFill>
                  <a:srgbClr val="485865"/>
                </a:solidFill>
                <a:latin typeface="Trebuchet MS"/>
                <a:cs typeface="Trebuchet MS"/>
              </a:rPr>
              <a:t>are based </a:t>
            </a:r>
            <a:r>
              <a:rPr sz="1949" i="1" spc="11" dirty="0">
                <a:solidFill>
                  <a:srgbClr val="485865"/>
                </a:solidFill>
                <a:latin typeface="Trebuchet MS"/>
                <a:cs typeface="Trebuchet MS"/>
              </a:rPr>
              <a:t>on </a:t>
            </a:r>
            <a:r>
              <a:rPr sz="1949" i="1" spc="5" dirty="0">
                <a:solidFill>
                  <a:srgbClr val="485865"/>
                </a:solidFill>
                <a:latin typeface="Trebuchet MS"/>
                <a:cs typeface="Trebuchet MS"/>
              </a:rPr>
              <a:t>information gathered at the </a:t>
            </a:r>
            <a:r>
              <a:rPr sz="1949" i="1" spc="11" dirty="0">
                <a:solidFill>
                  <a:srgbClr val="485865"/>
                </a:solidFill>
                <a:latin typeface="Trebuchet MS"/>
                <a:cs typeface="Trebuchet MS"/>
              </a:rPr>
              <a:t>time </a:t>
            </a:r>
            <a:r>
              <a:rPr sz="1949" i="1" spc="5" dirty="0">
                <a:solidFill>
                  <a:srgbClr val="485865"/>
                </a:solidFill>
                <a:latin typeface="Trebuchet MS"/>
                <a:cs typeface="Trebuchet MS"/>
              </a:rPr>
              <a:t>of </a:t>
            </a:r>
            <a:r>
              <a:rPr sz="1949" i="1" dirty="0">
                <a:solidFill>
                  <a:srgbClr val="485865"/>
                </a:solidFill>
                <a:latin typeface="Trebuchet MS"/>
                <a:cs typeface="Trebuchet MS"/>
              </a:rPr>
              <a:t>writing  </a:t>
            </a:r>
            <a:r>
              <a:rPr sz="1949" i="1" spc="5" dirty="0">
                <a:solidFill>
                  <a:srgbClr val="485865"/>
                </a:solidFill>
                <a:latin typeface="Trebuchet MS"/>
                <a:cs typeface="Trebuchet MS"/>
              </a:rPr>
              <a:t>and are subject to change</a:t>
            </a:r>
            <a:r>
              <a:rPr sz="1949" i="1" spc="40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sz="1949" i="1" spc="5" dirty="0">
                <a:solidFill>
                  <a:srgbClr val="485865"/>
                </a:solidFill>
                <a:latin typeface="Trebuchet MS"/>
                <a:cs typeface="Trebuchet MS"/>
              </a:rPr>
              <a:t>without</a:t>
            </a:r>
            <a:r>
              <a:rPr sz="1949" i="1" spc="11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sz="1949" i="1" dirty="0">
                <a:solidFill>
                  <a:srgbClr val="485865"/>
                </a:solidFill>
                <a:latin typeface="Trebuchet MS"/>
                <a:cs typeface="Trebuchet MS"/>
              </a:rPr>
              <a:t>notice.	</a:t>
            </a:r>
            <a:r>
              <a:rPr sz="1949" i="1" spc="11" dirty="0">
                <a:solidFill>
                  <a:srgbClr val="485865"/>
                </a:solidFill>
                <a:latin typeface="Trebuchet MS"/>
                <a:cs typeface="Trebuchet MS"/>
              </a:rPr>
              <a:t>The </a:t>
            </a:r>
            <a:r>
              <a:rPr sz="1949" i="1" spc="5" dirty="0">
                <a:solidFill>
                  <a:srgbClr val="485865"/>
                </a:solidFill>
                <a:latin typeface="Trebuchet MS"/>
                <a:cs typeface="Trebuchet MS"/>
              </a:rPr>
              <a:t>Company relies </a:t>
            </a:r>
            <a:r>
              <a:rPr sz="1949" i="1" spc="11" dirty="0">
                <a:solidFill>
                  <a:srgbClr val="485865"/>
                </a:solidFill>
                <a:latin typeface="Trebuchet MS"/>
                <a:cs typeface="Trebuchet MS"/>
              </a:rPr>
              <a:t>on </a:t>
            </a:r>
            <a:r>
              <a:rPr sz="1949" i="1" spc="5" dirty="0">
                <a:solidFill>
                  <a:srgbClr val="485865"/>
                </a:solidFill>
                <a:latin typeface="Trebuchet MS"/>
                <a:cs typeface="Trebuchet MS"/>
              </a:rPr>
              <a:t>information obtained from sources </a:t>
            </a:r>
            <a:r>
              <a:rPr sz="1949" i="1" dirty="0">
                <a:solidFill>
                  <a:srgbClr val="485865"/>
                </a:solidFill>
                <a:latin typeface="Trebuchet MS"/>
                <a:cs typeface="Trebuchet MS"/>
              </a:rPr>
              <a:t>believed </a:t>
            </a:r>
            <a:r>
              <a:rPr sz="1949" i="1" spc="5" dirty="0">
                <a:solidFill>
                  <a:srgbClr val="485865"/>
                </a:solidFill>
                <a:latin typeface="Trebuchet MS"/>
                <a:cs typeface="Trebuchet MS"/>
              </a:rPr>
              <a:t>to be reliable</a:t>
            </a:r>
            <a:r>
              <a:rPr sz="1949" i="1" spc="75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sz="1949" i="1" spc="5" dirty="0">
                <a:solidFill>
                  <a:srgbClr val="485865"/>
                </a:solidFill>
                <a:latin typeface="Trebuchet MS"/>
                <a:cs typeface="Trebuchet MS"/>
              </a:rPr>
              <a:t>but</a:t>
            </a:r>
            <a:r>
              <a:rPr sz="1949" i="1" spc="11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sz="1949" i="1" dirty="0">
                <a:solidFill>
                  <a:srgbClr val="485865"/>
                </a:solidFill>
                <a:latin typeface="Trebuchet MS"/>
                <a:cs typeface="Trebuchet MS"/>
              </a:rPr>
              <a:t>does  </a:t>
            </a:r>
            <a:r>
              <a:rPr sz="1949" i="1" spc="5" dirty="0">
                <a:solidFill>
                  <a:srgbClr val="485865"/>
                </a:solidFill>
                <a:latin typeface="Trebuchet MS"/>
                <a:cs typeface="Trebuchet MS"/>
              </a:rPr>
              <a:t>not guarantee its </a:t>
            </a:r>
            <a:r>
              <a:rPr sz="1949" i="1" dirty="0">
                <a:solidFill>
                  <a:srgbClr val="485865"/>
                </a:solidFill>
                <a:latin typeface="Trebuchet MS"/>
                <a:cs typeface="Trebuchet MS"/>
              </a:rPr>
              <a:t>accuracy </a:t>
            </a:r>
            <a:r>
              <a:rPr sz="1949" i="1" spc="5" dirty="0">
                <a:solidFill>
                  <a:srgbClr val="485865"/>
                </a:solidFill>
                <a:latin typeface="Trebuchet MS"/>
                <a:cs typeface="Trebuchet MS"/>
              </a:rPr>
              <a:t>or completeness. This </a:t>
            </a:r>
            <a:r>
              <a:rPr sz="1949" i="1" dirty="0">
                <a:solidFill>
                  <a:srgbClr val="485865"/>
                </a:solidFill>
                <a:latin typeface="Trebuchet MS"/>
                <a:cs typeface="Trebuchet MS"/>
              </a:rPr>
              <a:t>presentation </a:t>
            </a:r>
            <a:r>
              <a:rPr sz="1949" i="1" spc="5" dirty="0">
                <a:solidFill>
                  <a:srgbClr val="485865"/>
                </a:solidFill>
                <a:latin typeface="Trebuchet MS"/>
                <a:cs typeface="Trebuchet MS"/>
              </a:rPr>
              <a:t>may contain certain </a:t>
            </a:r>
            <a:r>
              <a:rPr sz="1949" i="1" dirty="0">
                <a:solidFill>
                  <a:srgbClr val="485865"/>
                </a:solidFill>
                <a:latin typeface="Trebuchet MS"/>
                <a:cs typeface="Trebuchet MS"/>
              </a:rPr>
              <a:t>forward-looking </a:t>
            </a:r>
            <a:r>
              <a:rPr sz="1949" i="1" spc="5" dirty="0">
                <a:solidFill>
                  <a:srgbClr val="485865"/>
                </a:solidFill>
                <a:latin typeface="Trebuchet MS"/>
                <a:cs typeface="Trebuchet MS"/>
              </a:rPr>
              <a:t>statements and information relating  to the Company and its </a:t>
            </a:r>
            <a:r>
              <a:rPr sz="1949" i="1" spc="-11" dirty="0">
                <a:solidFill>
                  <a:srgbClr val="485865"/>
                </a:solidFill>
                <a:latin typeface="Trebuchet MS"/>
                <a:cs typeface="Trebuchet MS"/>
              </a:rPr>
              <a:t>affiliates, </a:t>
            </a:r>
            <a:r>
              <a:rPr sz="1949" i="1" spc="5" dirty="0">
                <a:solidFill>
                  <a:srgbClr val="485865"/>
                </a:solidFill>
                <a:latin typeface="Trebuchet MS"/>
                <a:cs typeface="Trebuchet MS"/>
              </a:rPr>
              <a:t>related companies, </a:t>
            </a:r>
            <a:r>
              <a:rPr sz="1949" i="1" dirty="0">
                <a:solidFill>
                  <a:srgbClr val="485865"/>
                </a:solidFill>
                <a:latin typeface="Trebuchet MS"/>
                <a:cs typeface="Trebuchet MS"/>
              </a:rPr>
              <a:t>directors, </a:t>
            </a:r>
            <a:r>
              <a:rPr sz="1949" i="1" spc="-5" dirty="0">
                <a:solidFill>
                  <a:srgbClr val="485865"/>
                </a:solidFill>
                <a:latin typeface="Trebuchet MS"/>
                <a:cs typeface="Trebuchet MS"/>
              </a:rPr>
              <a:t>officers, </a:t>
            </a:r>
            <a:r>
              <a:rPr sz="1949" i="1" spc="5" dirty="0">
                <a:solidFill>
                  <a:srgbClr val="485865"/>
                </a:solidFill>
                <a:latin typeface="Trebuchet MS"/>
                <a:cs typeface="Trebuchet MS"/>
              </a:rPr>
              <a:t>shareholders, </a:t>
            </a:r>
            <a:r>
              <a:rPr sz="1949" i="1" dirty="0">
                <a:solidFill>
                  <a:srgbClr val="485865"/>
                </a:solidFill>
                <a:latin typeface="Trebuchet MS"/>
                <a:cs typeface="Trebuchet MS"/>
              </a:rPr>
              <a:t>agents </a:t>
            </a:r>
            <a:r>
              <a:rPr sz="1949" i="1" spc="5" dirty="0">
                <a:solidFill>
                  <a:srgbClr val="485865"/>
                </a:solidFill>
                <a:latin typeface="Trebuchet MS"/>
                <a:cs typeface="Trebuchet MS"/>
              </a:rPr>
              <a:t>or employees that </a:t>
            </a:r>
            <a:r>
              <a:rPr sz="1949" i="1" spc="-5" dirty="0">
                <a:solidFill>
                  <a:srgbClr val="485865"/>
                </a:solidFill>
                <a:latin typeface="Trebuchet MS"/>
                <a:cs typeface="Trebuchet MS"/>
              </a:rPr>
              <a:t>reflect </a:t>
            </a:r>
            <a:r>
              <a:rPr sz="1949" i="1" spc="5" dirty="0">
                <a:solidFill>
                  <a:srgbClr val="485865"/>
                </a:solidFill>
                <a:latin typeface="Trebuchet MS"/>
                <a:cs typeface="Trebuchet MS"/>
              </a:rPr>
              <a:t>the current  views and/or </a:t>
            </a:r>
            <a:r>
              <a:rPr sz="1949" i="1" dirty="0">
                <a:solidFill>
                  <a:srgbClr val="485865"/>
                </a:solidFill>
                <a:latin typeface="Trebuchet MS"/>
                <a:cs typeface="Trebuchet MS"/>
              </a:rPr>
              <a:t>expectations </a:t>
            </a:r>
            <a:r>
              <a:rPr sz="1949" i="1" spc="5" dirty="0">
                <a:solidFill>
                  <a:srgbClr val="485865"/>
                </a:solidFill>
                <a:latin typeface="Trebuchet MS"/>
                <a:cs typeface="Trebuchet MS"/>
              </a:rPr>
              <a:t>of the Company and its management with respect to its performance, </a:t>
            </a:r>
            <a:r>
              <a:rPr sz="1949" i="1" dirty="0">
                <a:solidFill>
                  <a:srgbClr val="485865"/>
                </a:solidFill>
                <a:latin typeface="Trebuchet MS"/>
                <a:cs typeface="Trebuchet MS"/>
              </a:rPr>
              <a:t>business </a:t>
            </a:r>
            <a:r>
              <a:rPr sz="1949" i="1" spc="5" dirty="0">
                <a:solidFill>
                  <a:srgbClr val="485865"/>
                </a:solidFill>
                <a:latin typeface="Trebuchet MS"/>
                <a:cs typeface="Trebuchet MS"/>
              </a:rPr>
              <a:t>and </a:t>
            </a:r>
            <a:r>
              <a:rPr sz="1949" i="1" dirty="0">
                <a:solidFill>
                  <a:srgbClr val="485865"/>
                </a:solidFill>
                <a:latin typeface="Trebuchet MS"/>
                <a:cs typeface="Trebuchet MS"/>
              </a:rPr>
              <a:t>future events. </a:t>
            </a:r>
            <a:r>
              <a:rPr sz="1949" i="1" spc="5" dirty="0">
                <a:solidFill>
                  <a:srgbClr val="485865"/>
                </a:solidFill>
                <a:latin typeface="Trebuchet MS"/>
                <a:cs typeface="Trebuchet MS"/>
              </a:rPr>
              <a:t>Forward-  </a:t>
            </a:r>
            <a:r>
              <a:rPr sz="1949" i="1" dirty="0">
                <a:solidFill>
                  <a:srgbClr val="485865"/>
                </a:solidFill>
                <a:latin typeface="Trebuchet MS"/>
                <a:cs typeface="Trebuchet MS"/>
              </a:rPr>
              <a:t>looking </a:t>
            </a:r>
            <a:r>
              <a:rPr sz="1949" i="1" spc="5" dirty="0">
                <a:solidFill>
                  <a:srgbClr val="485865"/>
                </a:solidFill>
                <a:latin typeface="Trebuchet MS"/>
                <a:cs typeface="Trebuchet MS"/>
              </a:rPr>
              <a:t>statements include, without </a:t>
            </a:r>
            <a:r>
              <a:rPr sz="1949" i="1" dirty="0">
                <a:solidFill>
                  <a:srgbClr val="485865"/>
                </a:solidFill>
                <a:latin typeface="Trebuchet MS"/>
                <a:cs typeface="Trebuchet MS"/>
              </a:rPr>
              <a:t>limitation, </a:t>
            </a:r>
            <a:r>
              <a:rPr sz="1949" i="1" spc="5" dirty="0">
                <a:solidFill>
                  <a:srgbClr val="485865"/>
                </a:solidFill>
                <a:latin typeface="Trebuchet MS"/>
                <a:cs typeface="Trebuchet MS"/>
              </a:rPr>
              <a:t>any statement that may </a:t>
            </a:r>
            <a:r>
              <a:rPr sz="1949" i="1" dirty="0">
                <a:solidFill>
                  <a:srgbClr val="485865"/>
                </a:solidFill>
                <a:latin typeface="Trebuchet MS"/>
                <a:cs typeface="Trebuchet MS"/>
              </a:rPr>
              <a:t>predict, forecast, </a:t>
            </a:r>
            <a:r>
              <a:rPr sz="1949" i="1" spc="5" dirty="0">
                <a:solidFill>
                  <a:srgbClr val="485865"/>
                </a:solidFill>
                <a:latin typeface="Trebuchet MS"/>
                <a:cs typeface="Trebuchet MS"/>
              </a:rPr>
              <a:t>indicate or imply </a:t>
            </a:r>
            <a:r>
              <a:rPr sz="1949" i="1" dirty="0">
                <a:solidFill>
                  <a:srgbClr val="485865"/>
                </a:solidFill>
                <a:latin typeface="Trebuchet MS"/>
                <a:cs typeface="Trebuchet MS"/>
              </a:rPr>
              <a:t>future </a:t>
            </a:r>
            <a:r>
              <a:rPr sz="1949" i="1" spc="5" dirty="0">
                <a:solidFill>
                  <a:srgbClr val="485865"/>
                </a:solidFill>
                <a:latin typeface="Trebuchet MS"/>
                <a:cs typeface="Trebuchet MS"/>
              </a:rPr>
              <a:t>results, performance  or </a:t>
            </a:r>
            <a:r>
              <a:rPr sz="1949" i="1" dirty="0">
                <a:solidFill>
                  <a:srgbClr val="485865"/>
                </a:solidFill>
                <a:latin typeface="Trebuchet MS"/>
                <a:cs typeface="Trebuchet MS"/>
              </a:rPr>
              <a:t>achievements, </a:t>
            </a:r>
            <a:r>
              <a:rPr sz="1949" i="1" spc="5" dirty="0">
                <a:solidFill>
                  <a:srgbClr val="485865"/>
                </a:solidFill>
                <a:latin typeface="Trebuchet MS"/>
                <a:cs typeface="Trebuchet MS"/>
              </a:rPr>
              <a:t>and may contain words </a:t>
            </a:r>
            <a:r>
              <a:rPr sz="1949" i="1" dirty="0">
                <a:solidFill>
                  <a:srgbClr val="485865"/>
                </a:solidFill>
                <a:latin typeface="Trebuchet MS"/>
                <a:cs typeface="Trebuchet MS"/>
              </a:rPr>
              <a:t>like “believe”, “anticipate”, “expect”, “envisages”, “will likely </a:t>
            </a:r>
            <a:r>
              <a:rPr sz="1949" i="1" spc="5" dirty="0">
                <a:solidFill>
                  <a:srgbClr val="485865"/>
                </a:solidFill>
                <a:latin typeface="Trebuchet MS"/>
                <a:cs typeface="Trebuchet MS"/>
              </a:rPr>
              <a:t>result”, or any other</a:t>
            </a:r>
            <a:r>
              <a:rPr sz="1949" i="1" spc="275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sz="1949" i="1" spc="5" dirty="0">
                <a:solidFill>
                  <a:srgbClr val="485865"/>
                </a:solidFill>
                <a:latin typeface="Trebuchet MS"/>
                <a:cs typeface="Trebuchet MS"/>
              </a:rPr>
              <a:t>words</a:t>
            </a:r>
            <a:endParaRPr sz="1949" dirty="0">
              <a:latin typeface="Trebuchet MS"/>
              <a:cs typeface="Trebuchet MS"/>
            </a:endParaRPr>
          </a:p>
          <a:p>
            <a:pPr marL="12701" marR="484548">
              <a:lnSpc>
                <a:spcPct val="140900"/>
              </a:lnSpc>
              <a:tabLst>
                <a:tab pos="3624892" algn="l"/>
              </a:tabLst>
            </a:pPr>
            <a:r>
              <a:rPr sz="1949" i="1" spc="5" dirty="0">
                <a:solidFill>
                  <a:srgbClr val="485865"/>
                </a:solidFill>
                <a:latin typeface="Trebuchet MS"/>
                <a:cs typeface="Trebuchet MS"/>
              </a:rPr>
              <a:t>or </a:t>
            </a:r>
            <a:r>
              <a:rPr sz="1949" i="1" dirty="0">
                <a:solidFill>
                  <a:srgbClr val="485865"/>
                </a:solidFill>
                <a:latin typeface="Trebuchet MS"/>
                <a:cs typeface="Trebuchet MS"/>
              </a:rPr>
              <a:t>phrases </a:t>
            </a:r>
            <a:r>
              <a:rPr sz="1949" i="1" spc="5" dirty="0">
                <a:solidFill>
                  <a:srgbClr val="485865"/>
                </a:solidFill>
                <a:latin typeface="Trebuchet MS"/>
                <a:cs typeface="Trebuchet MS"/>
              </a:rPr>
              <a:t>of</a:t>
            </a:r>
            <a:r>
              <a:rPr sz="1949" i="1" spc="31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sz="1949" i="1" spc="5" dirty="0">
                <a:solidFill>
                  <a:srgbClr val="485865"/>
                </a:solidFill>
                <a:latin typeface="Trebuchet MS"/>
                <a:cs typeface="Trebuchet MS"/>
              </a:rPr>
              <a:t>similar</a:t>
            </a:r>
            <a:r>
              <a:rPr sz="1949" i="1" spc="11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sz="1949" i="1" spc="5" dirty="0">
                <a:solidFill>
                  <a:srgbClr val="485865"/>
                </a:solidFill>
                <a:latin typeface="Trebuchet MS"/>
                <a:cs typeface="Trebuchet MS"/>
              </a:rPr>
              <a:t>meaning.	Such statements are subject to </a:t>
            </a:r>
            <a:r>
              <a:rPr sz="1949" i="1" spc="11" dirty="0">
                <a:solidFill>
                  <a:srgbClr val="485865"/>
                </a:solidFill>
                <a:latin typeface="Trebuchet MS"/>
                <a:cs typeface="Trebuchet MS"/>
              </a:rPr>
              <a:t>a </a:t>
            </a:r>
            <a:r>
              <a:rPr sz="1949" i="1" spc="5" dirty="0">
                <a:solidFill>
                  <a:srgbClr val="485865"/>
                </a:solidFill>
                <a:latin typeface="Trebuchet MS"/>
                <a:cs typeface="Trebuchet MS"/>
              </a:rPr>
              <a:t>number of risks, uncertainties and </a:t>
            </a:r>
            <a:r>
              <a:rPr sz="1949" i="1" dirty="0">
                <a:solidFill>
                  <a:srgbClr val="485865"/>
                </a:solidFill>
                <a:latin typeface="Trebuchet MS"/>
                <a:cs typeface="Trebuchet MS"/>
              </a:rPr>
              <a:t>assumptions. </a:t>
            </a:r>
            <a:r>
              <a:rPr sz="1949" i="1" spc="-45" dirty="0">
                <a:solidFill>
                  <a:srgbClr val="485865"/>
                </a:solidFill>
                <a:latin typeface="Trebuchet MS"/>
                <a:cs typeface="Trebuchet MS"/>
              </a:rPr>
              <a:t>We </a:t>
            </a:r>
            <a:r>
              <a:rPr sz="1949" i="1" spc="5" dirty="0">
                <a:solidFill>
                  <a:srgbClr val="485865"/>
                </a:solidFill>
                <a:latin typeface="Trebuchet MS"/>
                <a:cs typeface="Trebuchet MS"/>
              </a:rPr>
              <a:t>caution</a:t>
            </a:r>
            <a:r>
              <a:rPr sz="1949" i="1" spc="165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sz="1949" i="1" spc="5" dirty="0">
                <a:solidFill>
                  <a:srgbClr val="485865"/>
                </a:solidFill>
                <a:latin typeface="Trebuchet MS"/>
                <a:cs typeface="Trebuchet MS"/>
              </a:rPr>
              <a:t>you</a:t>
            </a:r>
            <a:r>
              <a:rPr sz="1949" i="1" spc="11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sz="1949" i="1" spc="5" dirty="0">
                <a:solidFill>
                  <a:srgbClr val="485865"/>
                </a:solidFill>
                <a:latin typeface="Trebuchet MS"/>
                <a:cs typeface="Trebuchet MS"/>
              </a:rPr>
              <a:t>that </a:t>
            </a:r>
            <a:r>
              <a:rPr sz="1949" i="1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sz="1949" i="1" spc="11" dirty="0">
                <a:solidFill>
                  <a:srgbClr val="485865"/>
                </a:solidFill>
                <a:latin typeface="Trebuchet MS"/>
                <a:cs typeface="Trebuchet MS"/>
              </a:rPr>
              <a:t>a </a:t>
            </a:r>
            <a:r>
              <a:rPr sz="1949" i="1" spc="5" dirty="0">
                <a:solidFill>
                  <a:srgbClr val="485865"/>
                </a:solidFill>
                <a:latin typeface="Trebuchet MS"/>
                <a:cs typeface="Trebuchet MS"/>
              </a:rPr>
              <a:t>number of important </a:t>
            </a:r>
            <a:r>
              <a:rPr sz="1949" i="1" dirty="0">
                <a:solidFill>
                  <a:srgbClr val="485865"/>
                </a:solidFill>
                <a:latin typeface="Trebuchet MS"/>
                <a:cs typeface="Trebuchet MS"/>
              </a:rPr>
              <a:t>factors </a:t>
            </a:r>
            <a:r>
              <a:rPr sz="1949" i="1" spc="5" dirty="0">
                <a:solidFill>
                  <a:srgbClr val="485865"/>
                </a:solidFill>
                <a:latin typeface="Trebuchet MS"/>
                <a:cs typeface="Trebuchet MS"/>
              </a:rPr>
              <a:t>could cause </a:t>
            </a:r>
            <a:r>
              <a:rPr sz="1949" i="1" dirty="0">
                <a:solidFill>
                  <a:srgbClr val="485865"/>
                </a:solidFill>
                <a:latin typeface="Trebuchet MS"/>
                <a:cs typeface="Trebuchet MS"/>
              </a:rPr>
              <a:t>actual </a:t>
            </a:r>
            <a:r>
              <a:rPr sz="1949" i="1" spc="11" dirty="0">
                <a:solidFill>
                  <a:srgbClr val="485865"/>
                </a:solidFill>
                <a:latin typeface="Trebuchet MS"/>
                <a:cs typeface="Trebuchet MS"/>
              </a:rPr>
              <a:t>outcomes </a:t>
            </a:r>
            <a:r>
              <a:rPr sz="1949" i="1" spc="5" dirty="0">
                <a:solidFill>
                  <a:srgbClr val="485865"/>
                </a:solidFill>
                <a:latin typeface="Trebuchet MS"/>
                <a:cs typeface="Trebuchet MS"/>
              </a:rPr>
              <a:t>to </a:t>
            </a:r>
            <a:r>
              <a:rPr sz="1949" i="1" dirty="0">
                <a:solidFill>
                  <a:srgbClr val="485865"/>
                </a:solidFill>
                <a:latin typeface="Trebuchet MS"/>
                <a:cs typeface="Trebuchet MS"/>
              </a:rPr>
              <a:t>differ materially </a:t>
            </a:r>
            <a:r>
              <a:rPr sz="1949" i="1" spc="5" dirty="0">
                <a:solidFill>
                  <a:srgbClr val="485865"/>
                </a:solidFill>
                <a:latin typeface="Trebuchet MS"/>
                <a:cs typeface="Trebuchet MS"/>
              </a:rPr>
              <a:t>from the </a:t>
            </a:r>
            <a:r>
              <a:rPr sz="1949" i="1" dirty="0">
                <a:solidFill>
                  <a:srgbClr val="485865"/>
                </a:solidFill>
                <a:latin typeface="Trebuchet MS"/>
                <a:cs typeface="Trebuchet MS"/>
              </a:rPr>
              <a:t>plans, </a:t>
            </a:r>
            <a:r>
              <a:rPr sz="1949" i="1" spc="5" dirty="0">
                <a:solidFill>
                  <a:srgbClr val="485865"/>
                </a:solidFill>
                <a:latin typeface="Trebuchet MS"/>
                <a:cs typeface="Trebuchet MS"/>
              </a:rPr>
              <a:t>objectives, </a:t>
            </a:r>
            <a:r>
              <a:rPr sz="1949" i="1" dirty="0">
                <a:solidFill>
                  <a:srgbClr val="485865"/>
                </a:solidFill>
                <a:latin typeface="Trebuchet MS"/>
                <a:cs typeface="Trebuchet MS"/>
              </a:rPr>
              <a:t>expectations,</a:t>
            </a:r>
            <a:r>
              <a:rPr sz="1949" i="1" spc="224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sz="1949" i="1" dirty="0">
                <a:solidFill>
                  <a:srgbClr val="485865"/>
                </a:solidFill>
                <a:latin typeface="Trebuchet MS"/>
                <a:cs typeface="Trebuchet MS"/>
              </a:rPr>
              <a:t>estimates</a:t>
            </a:r>
            <a:endParaRPr sz="1949" dirty="0">
              <a:latin typeface="Trebuchet MS"/>
              <a:cs typeface="Trebuchet MS"/>
            </a:endParaRPr>
          </a:p>
          <a:p>
            <a:pPr marL="12701" marR="5081">
              <a:lnSpc>
                <a:spcPct val="140900"/>
              </a:lnSpc>
            </a:pPr>
            <a:r>
              <a:rPr sz="1949" i="1" spc="5" dirty="0">
                <a:solidFill>
                  <a:srgbClr val="485865"/>
                </a:solidFill>
                <a:latin typeface="Trebuchet MS"/>
                <a:cs typeface="Trebuchet MS"/>
              </a:rPr>
              <a:t>and intentions </a:t>
            </a:r>
            <a:r>
              <a:rPr sz="1949" i="1" dirty="0">
                <a:solidFill>
                  <a:srgbClr val="485865"/>
                </a:solidFill>
                <a:latin typeface="Trebuchet MS"/>
                <a:cs typeface="Trebuchet MS"/>
              </a:rPr>
              <a:t>expressed </a:t>
            </a:r>
            <a:r>
              <a:rPr sz="1949" i="1" spc="5" dirty="0">
                <a:solidFill>
                  <a:srgbClr val="485865"/>
                </a:solidFill>
                <a:latin typeface="Trebuchet MS"/>
                <a:cs typeface="Trebuchet MS"/>
              </a:rPr>
              <a:t>in this </a:t>
            </a:r>
            <a:r>
              <a:rPr sz="1949" i="1" dirty="0">
                <a:solidFill>
                  <a:srgbClr val="485865"/>
                </a:solidFill>
                <a:latin typeface="Trebuchet MS"/>
                <a:cs typeface="Trebuchet MS"/>
              </a:rPr>
              <a:t>presentation. In </a:t>
            </a:r>
            <a:r>
              <a:rPr sz="1949" i="1" spc="5" dirty="0">
                <a:solidFill>
                  <a:srgbClr val="485865"/>
                </a:solidFill>
                <a:latin typeface="Trebuchet MS"/>
                <a:cs typeface="Trebuchet MS"/>
              </a:rPr>
              <a:t>any </a:t>
            </a:r>
            <a:r>
              <a:rPr sz="1949" i="1" dirty="0">
                <a:solidFill>
                  <a:srgbClr val="485865"/>
                </a:solidFill>
                <a:latin typeface="Trebuchet MS"/>
                <a:cs typeface="Trebuchet MS"/>
              </a:rPr>
              <a:t>event, neither </a:t>
            </a:r>
            <a:r>
              <a:rPr sz="1949" i="1" spc="5" dirty="0">
                <a:solidFill>
                  <a:srgbClr val="485865"/>
                </a:solidFill>
                <a:latin typeface="Trebuchet MS"/>
                <a:cs typeface="Trebuchet MS"/>
              </a:rPr>
              <a:t>the Company nor any of its </a:t>
            </a:r>
            <a:r>
              <a:rPr sz="1949" i="1" spc="-11" dirty="0">
                <a:solidFill>
                  <a:srgbClr val="485865"/>
                </a:solidFill>
                <a:latin typeface="Trebuchet MS"/>
                <a:cs typeface="Trebuchet MS"/>
              </a:rPr>
              <a:t>affiliates, </a:t>
            </a:r>
            <a:r>
              <a:rPr sz="1949" i="1" spc="5" dirty="0">
                <a:solidFill>
                  <a:srgbClr val="485865"/>
                </a:solidFill>
                <a:latin typeface="Trebuchet MS"/>
                <a:cs typeface="Trebuchet MS"/>
              </a:rPr>
              <a:t>related companies, </a:t>
            </a:r>
            <a:r>
              <a:rPr sz="1949" i="1" dirty="0">
                <a:solidFill>
                  <a:srgbClr val="485865"/>
                </a:solidFill>
                <a:latin typeface="Trebuchet MS"/>
                <a:cs typeface="Trebuchet MS"/>
              </a:rPr>
              <a:t>directors,  </a:t>
            </a:r>
            <a:r>
              <a:rPr sz="1949" i="1" spc="-5" dirty="0">
                <a:solidFill>
                  <a:srgbClr val="485865"/>
                </a:solidFill>
                <a:latin typeface="Trebuchet MS"/>
                <a:cs typeface="Trebuchet MS"/>
              </a:rPr>
              <a:t>officers, </a:t>
            </a:r>
            <a:r>
              <a:rPr sz="1949" i="1" spc="5" dirty="0">
                <a:solidFill>
                  <a:srgbClr val="485865"/>
                </a:solidFill>
                <a:latin typeface="Trebuchet MS"/>
                <a:cs typeface="Trebuchet MS"/>
              </a:rPr>
              <a:t>shareholders, </a:t>
            </a:r>
            <a:r>
              <a:rPr sz="1949" i="1" dirty="0">
                <a:solidFill>
                  <a:srgbClr val="485865"/>
                </a:solidFill>
                <a:latin typeface="Trebuchet MS"/>
                <a:cs typeface="Trebuchet MS"/>
              </a:rPr>
              <a:t>agents </a:t>
            </a:r>
            <a:r>
              <a:rPr sz="1949" i="1" spc="5" dirty="0">
                <a:solidFill>
                  <a:srgbClr val="485865"/>
                </a:solidFill>
                <a:latin typeface="Trebuchet MS"/>
                <a:cs typeface="Trebuchet MS"/>
              </a:rPr>
              <a:t>or employees are or </a:t>
            </a:r>
            <a:r>
              <a:rPr sz="1949" i="1" dirty="0">
                <a:solidFill>
                  <a:srgbClr val="485865"/>
                </a:solidFill>
                <a:latin typeface="Trebuchet MS"/>
                <a:cs typeface="Trebuchet MS"/>
              </a:rPr>
              <a:t>will </a:t>
            </a:r>
            <a:r>
              <a:rPr sz="1949" i="1" spc="5" dirty="0">
                <a:solidFill>
                  <a:srgbClr val="485865"/>
                </a:solidFill>
                <a:latin typeface="Trebuchet MS"/>
                <a:cs typeface="Trebuchet MS"/>
              </a:rPr>
              <a:t>be </a:t>
            </a:r>
            <a:r>
              <a:rPr sz="1949" i="1" dirty="0">
                <a:solidFill>
                  <a:srgbClr val="485865"/>
                </a:solidFill>
                <a:latin typeface="Trebuchet MS"/>
                <a:cs typeface="Trebuchet MS"/>
              </a:rPr>
              <a:t>liable </a:t>
            </a:r>
            <a:r>
              <a:rPr sz="1949" i="1" spc="5" dirty="0">
                <a:solidFill>
                  <a:srgbClr val="485865"/>
                </a:solidFill>
                <a:latin typeface="Trebuchet MS"/>
                <a:cs typeface="Trebuchet MS"/>
              </a:rPr>
              <a:t>to any third </a:t>
            </a:r>
            <a:r>
              <a:rPr sz="1949" i="1" dirty="0">
                <a:solidFill>
                  <a:srgbClr val="485865"/>
                </a:solidFill>
                <a:latin typeface="Trebuchet MS"/>
                <a:cs typeface="Trebuchet MS"/>
              </a:rPr>
              <a:t>party for </a:t>
            </a:r>
            <a:r>
              <a:rPr sz="1949" i="1" spc="5" dirty="0">
                <a:solidFill>
                  <a:srgbClr val="485865"/>
                </a:solidFill>
                <a:latin typeface="Trebuchet MS"/>
                <a:cs typeface="Trebuchet MS"/>
              </a:rPr>
              <a:t>any investment or </a:t>
            </a:r>
            <a:r>
              <a:rPr sz="1949" i="1" dirty="0">
                <a:solidFill>
                  <a:srgbClr val="485865"/>
                </a:solidFill>
                <a:latin typeface="Trebuchet MS"/>
                <a:cs typeface="Trebuchet MS"/>
              </a:rPr>
              <a:t>business decision </a:t>
            </a:r>
            <a:r>
              <a:rPr sz="1949" i="1" spc="5" dirty="0">
                <a:solidFill>
                  <a:srgbClr val="485865"/>
                </a:solidFill>
                <a:latin typeface="Trebuchet MS"/>
                <a:cs typeface="Trebuchet MS"/>
              </a:rPr>
              <a:t>made or </a:t>
            </a:r>
            <a:r>
              <a:rPr sz="1949" i="1" dirty="0">
                <a:solidFill>
                  <a:srgbClr val="485865"/>
                </a:solidFill>
                <a:latin typeface="Trebuchet MS"/>
                <a:cs typeface="Trebuchet MS"/>
              </a:rPr>
              <a:t>action  </a:t>
            </a:r>
            <a:r>
              <a:rPr sz="1949" i="1" spc="5" dirty="0">
                <a:solidFill>
                  <a:srgbClr val="485865"/>
                </a:solidFill>
                <a:latin typeface="Trebuchet MS"/>
                <a:cs typeface="Trebuchet MS"/>
              </a:rPr>
              <a:t>taken in reliance </a:t>
            </a:r>
            <a:r>
              <a:rPr sz="1949" i="1" spc="11" dirty="0">
                <a:solidFill>
                  <a:srgbClr val="485865"/>
                </a:solidFill>
                <a:latin typeface="Trebuchet MS"/>
                <a:cs typeface="Trebuchet MS"/>
              </a:rPr>
              <a:t>on </a:t>
            </a:r>
            <a:r>
              <a:rPr sz="1949" i="1" spc="5" dirty="0">
                <a:solidFill>
                  <a:srgbClr val="485865"/>
                </a:solidFill>
                <a:latin typeface="Trebuchet MS"/>
                <a:cs typeface="Trebuchet MS"/>
              </a:rPr>
              <a:t>the information and statements contained in this </a:t>
            </a:r>
            <a:r>
              <a:rPr sz="1949" i="1" dirty="0">
                <a:solidFill>
                  <a:srgbClr val="485865"/>
                </a:solidFill>
                <a:latin typeface="Trebuchet MS"/>
                <a:cs typeface="Trebuchet MS"/>
              </a:rPr>
              <a:t>presentation </a:t>
            </a:r>
            <a:r>
              <a:rPr sz="1949" i="1" spc="5" dirty="0">
                <a:solidFill>
                  <a:srgbClr val="485865"/>
                </a:solidFill>
                <a:latin typeface="Trebuchet MS"/>
                <a:cs typeface="Trebuchet MS"/>
              </a:rPr>
              <a:t>or </a:t>
            </a:r>
            <a:r>
              <a:rPr sz="1949" i="1" dirty="0">
                <a:solidFill>
                  <a:srgbClr val="485865"/>
                </a:solidFill>
                <a:latin typeface="Trebuchet MS"/>
                <a:cs typeface="Trebuchet MS"/>
              </a:rPr>
              <a:t>for </a:t>
            </a:r>
            <a:r>
              <a:rPr sz="1949" i="1" spc="5" dirty="0">
                <a:solidFill>
                  <a:srgbClr val="485865"/>
                </a:solidFill>
                <a:latin typeface="Trebuchet MS"/>
                <a:cs typeface="Trebuchet MS"/>
              </a:rPr>
              <a:t>any consequential, special or similar</a:t>
            </a:r>
            <a:r>
              <a:rPr sz="1949" i="1" spc="204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sz="1949" i="1" spc="5" dirty="0">
                <a:solidFill>
                  <a:srgbClr val="485865"/>
                </a:solidFill>
                <a:latin typeface="Trebuchet MS"/>
                <a:cs typeface="Trebuchet MS"/>
              </a:rPr>
              <a:t>damages.</a:t>
            </a:r>
            <a:endParaRPr sz="1949" dirty="0">
              <a:latin typeface="Trebuchet MS"/>
              <a:cs typeface="Trebuchet MS"/>
            </a:endParaRPr>
          </a:p>
          <a:p>
            <a:pPr marL="12701" marR="338485">
              <a:lnSpc>
                <a:spcPct val="140900"/>
              </a:lnSpc>
            </a:pPr>
            <a:r>
              <a:rPr sz="1949" i="1" spc="11" dirty="0">
                <a:solidFill>
                  <a:srgbClr val="485865"/>
                </a:solidFill>
                <a:latin typeface="Trebuchet MS"/>
                <a:cs typeface="Trebuchet MS"/>
              </a:rPr>
              <a:t>The </a:t>
            </a:r>
            <a:r>
              <a:rPr sz="1949" i="1" spc="5" dirty="0">
                <a:solidFill>
                  <a:srgbClr val="485865"/>
                </a:solidFill>
                <a:latin typeface="Trebuchet MS"/>
                <a:cs typeface="Trebuchet MS"/>
              </a:rPr>
              <a:t>information contained in this </a:t>
            </a:r>
            <a:r>
              <a:rPr sz="1949" i="1" dirty="0">
                <a:solidFill>
                  <a:srgbClr val="485865"/>
                </a:solidFill>
                <a:latin typeface="Trebuchet MS"/>
                <a:cs typeface="Trebuchet MS"/>
              </a:rPr>
              <a:t>presentation </a:t>
            </a:r>
            <a:r>
              <a:rPr sz="1949" i="1" spc="5" dirty="0">
                <a:solidFill>
                  <a:srgbClr val="485865"/>
                </a:solidFill>
                <a:latin typeface="Trebuchet MS"/>
                <a:cs typeface="Trebuchet MS"/>
              </a:rPr>
              <a:t>has not been independently </a:t>
            </a:r>
            <a:r>
              <a:rPr sz="1949" i="1" spc="-5" dirty="0">
                <a:solidFill>
                  <a:srgbClr val="485865"/>
                </a:solidFill>
                <a:latin typeface="Trebuchet MS"/>
                <a:cs typeface="Trebuchet MS"/>
              </a:rPr>
              <a:t>verified. </a:t>
            </a:r>
            <a:r>
              <a:rPr sz="1949" i="1" spc="5" dirty="0">
                <a:solidFill>
                  <a:srgbClr val="485865"/>
                </a:solidFill>
                <a:latin typeface="Trebuchet MS"/>
                <a:cs typeface="Trebuchet MS"/>
              </a:rPr>
              <a:t>This </a:t>
            </a:r>
            <a:r>
              <a:rPr sz="1949" i="1" dirty="0">
                <a:solidFill>
                  <a:srgbClr val="485865"/>
                </a:solidFill>
                <a:latin typeface="Trebuchet MS"/>
                <a:cs typeface="Trebuchet MS"/>
              </a:rPr>
              <a:t>presentation </a:t>
            </a:r>
            <a:r>
              <a:rPr sz="1949" i="1" spc="5" dirty="0">
                <a:solidFill>
                  <a:srgbClr val="485865"/>
                </a:solidFill>
                <a:latin typeface="Trebuchet MS"/>
                <a:cs typeface="Trebuchet MS"/>
              </a:rPr>
              <a:t>and its contents are </a:t>
            </a:r>
            <a:r>
              <a:rPr sz="1949" i="1" dirty="0">
                <a:solidFill>
                  <a:srgbClr val="485865"/>
                </a:solidFill>
                <a:latin typeface="Trebuchet MS"/>
                <a:cs typeface="Trebuchet MS"/>
              </a:rPr>
              <a:t>proprietary  </a:t>
            </a:r>
            <a:r>
              <a:rPr sz="1949" i="1" spc="5" dirty="0">
                <a:solidFill>
                  <a:srgbClr val="485865"/>
                </a:solidFill>
                <a:latin typeface="Trebuchet MS"/>
                <a:cs typeface="Trebuchet MS"/>
              </a:rPr>
              <a:t>information and may not be reproduced or otherwise </a:t>
            </a:r>
            <a:r>
              <a:rPr sz="1949" i="1" dirty="0">
                <a:solidFill>
                  <a:srgbClr val="485865"/>
                </a:solidFill>
                <a:latin typeface="Trebuchet MS"/>
                <a:cs typeface="Trebuchet MS"/>
              </a:rPr>
              <a:t>disseminated </a:t>
            </a:r>
            <a:r>
              <a:rPr sz="1949" i="1" spc="5" dirty="0">
                <a:solidFill>
                  <a:srgbClr val="485865"/>
                </a:solidFill>
                <a:latin typeface="Trebuchet MS"/>
                <a:cs typeface="Trebuchet MS"/>
              </a:rPr>
              <a:t>in whole or in part without the Company </a:t>
            </a:r>
            <a:r>
              <a:rPr sz="1949" i="1" dirty="0">
                <a:solidFill>
                  <a:srgbClr val="485865"/>
                </a:solidFill>
                <a:latin typeface="Trebuchet MS"/>
                <a:cs typeface="Trebuchet MS"/>
              </a:rPr>
              <a:t>prior written</a:t>
            </a:r>
            <a:r>
              <a:rPr sz="1949" i="1" spc="191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sz="1949" i="1" spc="5" dirty="0">
                <a:solidFill>
                  <a:srgbClr val="485865"/>
                </a:solidFill>
                <a:latin typeface="Trebuchet MS"/>
                <a:cs typeface="Trebuchet MS"/>
              </a:rPr>
              <a:t>consent.”</a:t>
            </a:r>
            <a:endParaRPr sz="1949" dirty="0">
              <a:latin typeface="Trebuchet MS"/>
              <a:cs typeface="Trebuchet M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5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1699200" y="1303200"/>
            <a:ext cx="8280920" cy="10059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5937" baseline="0" dirty="0">
                <a:solidFill>
                  <a:schemeClr val="accent6"/>
                </a:solidFill>
                <a:latin typeface="Agenda" charset="0"/>
              </a:rPr>
              <a:t>Disclaimer</a:t>
            </a:r>
          </a:p>
        </p:txBody>
      </p:sp>
      <p:pic>
        <p:nvPicPr>
          <p:cNvPr id="6" name="Imagem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08634" y="11209"/>
            <a:ext cx="2520280" cy="141758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>
            <a:spLocks noChangeAspect="1"/>
          </p:cNvSpPr>
          <p:nvPr/>
        </p:nvSpPr>
        <p:spPr>
          <a:xfrm>
            <a:off x="7539039" y="9"/>
            <a:ext cx="12565381" cy="11308715"/>
          </a:xfrm>
          <a:custGeom>
            <a:avLst/>
            <a:gdLst/>
            <a:ahLst/>
            <a:cxnLst/>
            <a:rect l="l" t="t" r="r" b="b"/>
            <a:pathLst>
              <a:path w="12565380" h="11308715">
                <a:moveTo>
                  <a:pt x="12565062" y="11308556"/>
                </a:moveTo>
                <a:lnTo>
                  <a:pt x="0" y="11308556"/>
                </a:lnTo>
                <a:lnTo>
                  <a:pt x="0" y="0"/>
                </a:lnTo>
                <a:lnTo>
                  <a:pt x="12565062" y="0"/>
                </a:lnTo>
                <a:lnTo>
                  <a:pt x="12565062" y="11308556"/>
                </a:lnTo>
                <a:close/>
              </a:path>
            </a:pathLst>
          </a:custGeom>
          <a:solidFill>
            <a:srgbClr val="485865"/>
          </a:solidFill>
        </p:spPr>
        <p:txBody>
          <a:bodyPr wrap="square" lIns="0" tIns="0" rIns="0" bIns="0" rtlCol="0"/>
          <a:lstStyle/>
          <a:p>
            <a:endParaRPr sz="1801" dirty="0"/>
          </a:p>
        </p:txBody>
      </p:sp>
      <p:sp>
        <p:nvSpPr>
          <p:cNvPr id="17" name="bk object 17"/>
          <p:cNvSpPr>
            <a:spLocks noChangeAspect="1"/>
          </p:cNvSpPr>
          <p:nvPr/>
        </p:nvSpPr>
        <p:spPr>
          <a:xfrm>
            <a:off x="19281843" y="376965"/>
            <a:ext cx="445770" cy="777875"/>
          </a:xfrm>
          <a:custGeom>
            <a:avLst/>
            <a:gdLst/>
            <a:ahLst/>
            <a:cxnLst/>
            <a:rect l="l" t="t" r="r" b="b"/>
            <a:pathLst>
              <a:path w="445769" h="777875">
                <a:moveTo>
                  <a:pt x="157000" y="687958"/>
                </a:moveTo>
                <a:lnTo>
                  <a:pt x="157000" y="776112"/>
                </a:lnTo>
                <a:lnTo>
                  <a:pt x="163477" y="776657"/>
                </a:lnTo>
                <a:lnTo>
                  <a:pt x="169997" y="777050"/>
                </a:lnTo>
                <a:lnTo>
                  <a:pt x="176560" y="777288"/>
                </a:lnTo>
                <a:lnTo>
                  <a:pt x="183167" y="777369"/>
                </a:lnTo>
                <a:lnTo>
                  <a:pt x="230285" y="773276"/>
                </a:lnTo>
                <a:lnTo>
                  <a:pt x="274633" y="761475"/>
                </a:lnTo>
                <a:lnTo>
                  <a:pt x="315471" y="742685"/>
                </a:lnTo>
                <a:lnTo>
                  <a:pt x="352057" y="717622"/>
                </a:lnTo>
                <a:lnTo>
                  <a:pt x="380734" y="689832"/>
                </a:lnTo>
                <a:lnTo>
                  <a:pt x="183167" y="689832"/>
                </a:lnTo>
                <a:lnTo>
                  <a:pt x="176528" y="689711"/>
                </a:lnTo>
                <a:lnTo>
                  <a:pt x="169950" y="689354"/>
                </a:lnTo>
                <a:lnTo>
                  <a:pt x="163439" y="688767"/>
                </a:lnTo>
                <a:lnTo>
                  <a:pt x="157000" y="687958"/>
                </a:lnTo>
                <a:close/>
              </a:path>
              <a:path w="445769" h="777875">
                <a:moveTo>
                  <a:pt x="380727" y="356805"/>
                </a:moveTo>
                <a:lnTo>
                  <a:pt x="183167" y="356805"/>
                </a:lnTo>
                <a:lnTo>
                  <a:pt x="228962" y="362764"/>
                </a:lnTo>
                <a:lnTo>
                  <a:pt x="269244" y="379573"/>
                </a:lnTo>
                <a:lnTo>
                  <a:pt x="302757" y="405632"/>
                </a:lnTo>
                <a:lnTo>
                  <a:pt x="328248" y="439344"/>
                </a:lnTo>
                <a:lnTo>
                  <a:pt x="344462" y="479108"/>
                </a:lnTo>
                <a:lnTo>
                  <a:pt x="350146" y="523324"/>
                </a:lnTo>
                <a:lnTo>
                  <a:pt x="344462" y="567536"/>
                </a:lnTo>
                <a:lnTo>
                  <a:pt x="328248" y="607297"/>
                </a:lnTo>
                <a:lnTo>
                  <a:pt x="302757" y="641006"/>
                </a:lnTo>
                <a:lnTo>
                  <a:pt x="269244" y="667065"/>
                </a:lnTo>
                <a:lnTo>
                  <a:pt x="228962" y="683874"/>
                </a:lnTo>
                <a:lnTo>
                  <a:pt x="183167" y="689832"/>
                </a:lnTo>
                <a:lnTo>
                  <a:pt x="380734" y="689832"/>
                </a:lnTo>
                <a:lnTo>
                  <a:pt x="409515" y="651547"/>
                </a:lnTo>
                <a:lnTo>
                  <a:pt x="428905" y="611970"/>
                </a:lnTo>
                <a:lnTo>
                  <a:pt x="441082" y="568990"/>
                </a:lnTo>
                <a:lnTo>
                  <a:pt x="445305" y="523324"/>
                </a:lnTo>
                <a:lnTo>
                  <a:pt x="441082" y="477657"/>
                </a:lnTo>
                <a:lnTo>
                  <a:pt x="428905" y="434676"/>
                </a:lnTo>
                <a:lnTo>
                  <a:pt x="409515" y="395098"/>
                </a:lnTo>
                <a:lnTo>
                  <a:pt x="383652" y="359640"/>
                </a:lnTo>
                <a:lnTo>
                  <a:pt x="380727" y="356805"/>
                </a:lnTo>
                <a:close/>
              </a:path>
              <a:path w="445769" h="777875">
                <a:moveTo>
                  <a:pt x="97054" y="0"/>
                </a:moveTo>
                <a:lnTo>
                  <a:pt x="0" y="0"/>
                </a:lnTo>
                <a:lnTo>
                  <a:pt x="0" y="366323"/>
                </a:lnTo>
                <a:lnTo>
                  <a:pt x="125064" y="366323"/>
                </a:lnTo>
                <a:lnTo>
                  <a:pt x="138951" y="362243"/>
                </a:lnTo>
                <a:lnTo>
                  <a:pt x="153298" y="359260"/>
                </a:lnTo>
                <a:lnTo>
                  <a:pt x="168054" y="357428"/>
                </a:lnTo>
                <a:lnTo>
                  <a:pt x="183167" y="356805"/>
                </a:lnTo>
                <a:lnTo>
                  <a:pt x="380727" y="356805"/>
                </a:lnTo>
                <a:lnTo>
                  <a:pt x="352057" y="329020"/>
                </a:lnTo>
                <a:lnTo>
                  <a:pt x="315471" y="303955"/>
                </a:lnTo>
                <a:lnTo>
                  <a:pt x="274633" y="285163"/>
                </a:lnTo>
                <a:lnTo>
                  <a:pt x="267828" y="283352"/>
                </a:lnTo>
                <a:lnTo>
                  <a:pt x="97054" y="283352"/>
                </a:lnTo>
                <a:lnTo>
                  <a:pt x="97054" y="0"/>
                </a:lnTo>
                <a:close/>
              </a:path>
              <a:path w="445769" h="777875">
                <a:moveTo>
                  <a:pt x="183167" y="269269"/>
                </a:moveTo>
                <a:lnTo>
                  <a:pt x="160768" y="270188"/>
                </a:lnTo>
                <a:lnTo>
                  <a:pt x="138901" y="272894"/>
                </a:lnTo>
                <a:lnTo>
                  <a:pt x="117639" y="277308"/>
                </a:lnTo>
                <a:lnTo>
                  <a:pt x="97054" y="283352"/>
                </a:lnTo>
                <a:lnTo>
                  <a:pt x="267828" y="283352"/>
                </a:lnTo>
                <a:lnTo>
                  <a:pt x="230285" y="273362"/>
                </a:lnTo>
                <a:lnTo>
                  <a:pt x="183167" y="26926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1" dirty="0"/>
          </a:p>
        </p:txBody>
      </p:sp>
      <p:sp>
        <p:nvSpPr>
          <p:cNvPr id="18" name="bk object 18"/>
          <p:cNvSpPr>
            <a:spLocks noChangeAspect="1"/>
          </p:cNvSpPr>
          <p:nvPr/>
        </p:nvSpPr>
        <p:spPr>
          <a:xfrm>
            <a:off x="18837126" y="377142"/>
            <a:ext cx="445134" cy="626745"/>
          </a:xfrm>
          <a:custGeom>
            <a:avLst/>
            <a:gdLst/>
            <a:ahLst/>
            <a:cxnLst/>
            <a:rect l="l" t="t" r="r" b="b"/>
            <a:pathLst>
              <a:path w="445134" h="626744">
                <a:moveTo>
                  <a:pt x="215347" y="187805"/>
                </a:moveTo>
                <a:lnTo>
                  <a:pt x="98750" y="187805"/>
                </a:lnTo>
                <a:lnTo>
                  <a:pt x="444719" y="626179"/>
                </a:lnTo>
                <a:lnTo>
                  <a:pt x="444719" y="478069"/>
                </a:lnTo>
                <a:lnTo>
                  <a:pt x="215347" y="187805"/>
                </a:lnTo>
                <a:close/>
              </a:path>
              <a:path w="445134" h="626744">
                <a:moveTo>
                  <a:pt x="66940" y="0"/>
                </a:moveTo>
                <a:lnTo>
                  <a:pt x="0" y="0"/>
                </a:lnTo>
                <a:lnTo>
                  <a:pt x="0" y="612421"/>
                </a:lnTo>
                <a:lnTo>
                  <a:pt x="98750" y="612421"/>
                </a:lnTo>
                <a:lnTo>
                  <a:pt x="98750" y="187805"/>
                </a:lnTo>
                <a:lnTo>
                  <a:pt x="215347" y="187805"/>
                </a:lnTo>
                <a:lnTo>
                  <a:pt x="6694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1" dirty="0"/>
          </a:p>
        </p:txBody>
      </p:sp>
      <p:sp>
        <p:nvSpPr>
          <p:cNvPr id="19" name="bk object 19"/>
          <p:cNvSpPr>
            <a:spLocks noChangeAspect="1"/>
          </p:cNvSpPr>
          <p:nvPr/>
        </p:nvSpPr>
        <p:spPr>
          <a:xfrm>
            <a:off x="18837282" y="1048583"/>
            <a:ext cx="95250" cy="108585"/>
          </a:xfrm>
          <a:custGeom>
            <a:avLst/>
            <a:gdLst/>
            <a:ahLst/>
            <a:cxnLst/>
            <a:rect l="l" t="t" r="r" b="b"/>
            <a:pathLst>
              <a:path w="95250" h="108584">
                <a:moveTo>
                  <a:pt x="34908" y="26051"/>
                </a:moveTo>
                <a:lnTo>
                  <a:pt x="16093" y="26051"/>
                </a:lnTo>
                <a:lnTo>
                  <a:pt x="21864" y="32833"/>
                </a:lnTo>
                <a:lnTo>
                  <a:pt x="28041" y="39988"/>
                </a:lnTo>
                <a:lnTo>
                  <a:pt x="34343" y="47143"/>
                </a:lnTo>
                <a:lnTo>
                  <a:pt x="90091" y="108174"/>
                </a:lnTo>
                <a:lnTo>
                  <a:pt x="94908" y="108174"/>
                </a:lnTo>
                <a:lnTo>
                  <a:pt x="94908" y="75160"/>
                </a:lnTo>
                <a:lnTo>
                  <a:pt x="78803" y="75160"/>
                </a:lnTo>
                <a:lnTo>
                  <a:pt x="73469" y="68792"/>
                </a:lnTo>
                <a:lnTo>
                  <a:pt x="67571" y="62033"/>
                </a:lnTo>
                <a:lnTo>
                  <a:pt x="61732" y="55492"/>
                </a:lnTo>
                <a:lnTo>
                  <a:pt x="56574" y="49778"/>
                </a:lnTo>
                <a:lnTo>
                  <a:pt x="34908" y="26051"/>
                </a:lnTo>
                <a:close/>
              </a:path>
              <a:path w="95250" h="108584">
                <a:moveTo>
                  <a:pt x="11120" y="0"/>
                </a:moveTo>
                <a:lnTo>
                  <a:pt x="0" y="0"/>
                </a:lnTo>
                <a:lnTo>
                  <a:pt x="0" y="105860"/>
                </a:lnTo>
                <a:lnTo>
                  <a:pt x="16093" y="105860"/>
                </a:lnTo>
                <a:lnTo>
                  <a:pt x="16051" y="39988"/>
                </a:lnTo>
                <a:lnTo>
                  <a:pt x="15944" y="32833"/>
                </a:lnTo>
                <a:lnTo>
                  <a:pt x="15769" y="26219"/>
                </a:lnTo>
                <a:lnTo>
                  <a:pt x="16093" y="26051"/>
                </a:lnTo>
                <a:lnTo>
                  <a:pt x="34908" y="26051"/>
                </a:lnTo>
                <a:lnTo>
                  <a:pt x="11120" y="0"/>
                </a:lnTo>
                <a:close/>
              </a:path>
              <a:path w="95250" h="108584">
                <a:moveTo>
                  <a:pt x="94908" y="0"/>
                </a:moveTo>
                <a:lnTo>
                  <a:pt x="78803" y="0"/>
                </a:lnTo>
                <a:lnTo>
                  <a:pt x="78883" y="68792"/>
                </a:lnTo>
                <a:lnTo>
                  <a:pt x="79138" y="74992"/>
                </a:lnTo>
                <a:lnTo>
                  <a:pt x="78803" y="75160"/>
                </a:lnTo>
                <a:lnTo>
                  <a:pt x="94908" y="75160"/>
                </a:lnTo>
                <a:lnTo>
                  <a:pt x="94908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1" dirty="0"/>
          </a:p>
        </p:txBody>
      </p:sp>
      <p:sp>
        <p:nvSpPr>
          <p:cNvPr id="20" name="bk object 20"/>
          <p:cNvSpPr>
            <a:spLocks noChangeAspect="1"/>
          </p:cNvSpPr>
          <p:nvPr/>
        </p:nvSpPr>
        <p:spPr>
          <a:xfrm>
            <a:off x="18959067" y="1079267"/>
            <a:ext cx="0" cy="75566"/>
          </a:xfrm>
          <a:custGeom>
            <a:avLst/>
            <a:gdLst/>
            <a:ahLst/>
            <a:cxnLst/>
            <a:rect l="l" t="t" r="r" b="b"/>
            <a:pathLst>
              <a:path h="75565">
                <a:moveTo>
                  <a:pt x="0" y="0"/>
                </a:moveTo>
                <a:lnTo>
                  <a:pt x="0" y="75160"/>
                </a:lnTo>
              </a:path>
            </a:pathLst>
          </a:custGeom>
          <a:ln w="15266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801" dirty="0"/>
          </a:p>
        </p:txBody>
      </p:sp>
      <p:sp>
        <p:nvSpPr>
          <p:cNvPr id="21" name="bk object 21"/>
          <p:cNvSpPr>
            <a:spLocks noChangeAspect="1"/>
          </p:cNvSpPr>
          <p:nvPr/>
        </p:nvSpPr>
        <p:spPr>
          <a:xfrm>
            <a:off x="18981008" y="1077451"/>
            <a:ext cx="80009" cy="79375"/>
          </a:xfrm>
          <a:custGeom>
            <a:avLst/>
            <a:gdLst/>
            <a:ahLst/>
            <a:cxnLst/>
            <a:rect l="l" t="t" r="r" b="b"/>
            <a:pathLst>
              <a:path w="80009" h="79375">
                <a:moveTo>
                  <a:pt x="39977" y="0"/>
                </a:moveTo>
                <a:lnTo>
                  <a:pt x="24282" y="2880"/>
                </a:lnTo>
                <a:lnTo>
                  <a:pt x="11589" y="10970"/>
                </a:lnTo>
                <a:lnTo>
                  <a:pt x="3096" y="23447"/>
                </a:lnTo>
                <a:lnTo>
                  <a:pt x="0" y="39485"/>
                </a:lnTo>
                <a:lnTo>
                  <a:pt x="3096" y="55433"/>
                </a:lnTo>
                <a:lnTo>
                  <a:pt x="11589" y="67863"/>
                </a:lnTo>
                <a:lnTo>
                  <a:pt x="24282" y="75936"/>
                </a:lnTo>
                <a:lnTo>
                  <a:pt x="39977" y="78814"/>
                </a:lnTo>
                <a:lnTo>
                  <a:pt x="55648" y="75936"/>
                </a:lnTo>
                <a:lnTo>
                  <a:pt x="68287" y="67863"/>
                </a:lnTo>
                <a:lnTo>
                  <a:pt x="69866" y="65537"/>
                </a:lnTo>
                <a:lnTo>
                  <a:pt x="39977" y="65537"/>
                </a:lnTo>
                <a:lnTo>
                  <a:pt x="30513" y="63660"/>
                </a:lnTo>
                <a:lnTo>
                  <a:pt x="22638" y="58362"/>
                </a:lnTo>
                <a:lnTo>
                  <a:pt x="17251" y="50138"/>
                </a:lnTo>
                <a:lnTo>
                  <a:pt x="15256" y="39485"/>
                </a:lnTo>
                <a:lnTo>
                  <a:pt x="17251" y="28742"/>
                </a:lnTo>
                <a:lnTo>
                  <a:pt x="22638" y="20471"/>
                </a:lnTo>
                <a:lnTo>
                  <a:pt x="30513" y="15156"/>
                </a:lnTo>
                <a:lnTo>
                  <a:pt x="39977" y="13277"/>
                </a:lnTo>
                <a:lnTo>
                  <a:pt x="69847" y="13277"/>
                </a:lnTo>
                <a:lnTo>
                  <a:pt x="68287" y="10970"/>
                </a:lnTo>
                <a:lnTo>
                  <a:pt x="55648" y="2880"/>
                </a:lnTo>
                <a:lnTo>
                  <a:pt x="39977" y="0"/>
                </a:lnTo>
                <a:close/>
              </a:path>
              <a:path w="80009" h="79375">
                <a:moveTo>
                  <a:pt x="69847" y="13277"/>
                </a:moveTo>
                <a:lnTo>
                  <a:pt x="39977" y="13277"/>
                </a:lnTo>
                <a:lnTo>
                  <a:pt x="49345" y="15156"/>
                </a:lnTo>
                <a:lnTo>
                  <a:pt x="57171" y="20471"/>
                </a:lnTo>
                <a:lnTo>
                  <a:pt x="62538" y="28742"/>
                </a:lnTo>
                <a:lnTo>
                  <a:pt x="64532" y="39485"/>
                </a:lnTo>
                <a:lnTo>
                  <a:pt x="62538" y="50138"/>
                </a:lnTo>
                <a:lnTo>
                  <a:pt x="57171" y="58362"/>
                </a:lnTo>
                <a:lnTo>
                  <a:pt x="49345" y="63660"/>
                </a:lnTo>
                <a:lnTo>
                  <a:pt x="39977" y="65537"/>
                </a:lnTo>
                <a:lnTo>
                  <a:pt x="69866" y="65537"/>
                </a:lnTo>
                <a:lnTo>
                  <a:pt x="76726" y="55433"/>
                </a:lnTo>
                <a:lnTo>
                  <a:pt x="79798" y="39485"/>
                </a:lnTo>
                <a:lnTo>
                  <a:pt x="76726" y="23447"/>
                </a:lnTo>
                <a:lnTo>
                  <a:pt x="69847" y="1327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1" dirty="0"/>
          </a:p>
        </p:txBody>
      </p:sp>
      <p:sp>
        <p:nvSpPr>
          <p:cNvPr id="22" name="bk object 22"/>
          <p:cNvSpPr>
            <a:spLocks noChangeAspect="1"/>
          </p:cNvSpPr>
          <p:nvPr/>
        </p:nvSpPr>
        <p:spPr>
          <a:xfrm>
            <a:off x="19072597" y="1036310"/>
            <a:ext cx="69215" cy="120015"/>
          </a:xfrm>
          <a:custGeom>
            <a:avLst/>
            <a:gdLst/>
            <a:ahLst/>
            <a:cxnLst/>
            <a:rect l="l" t="t" r="r" b="b"/>
            <a:pathLst>
              <a:path w="69215" h="120015">
                <a:moveTo>
                  <a:pt x="15099" y="0"/>
                </a:moveTo>
                <a:lnTo>
                  <a:pt x="0" y="0"/>
                </a:lnTo>
                <a:lnTo>
                  <a:pt x="0" y="112980"/>
                </a:lnTo>
                <a:lnTo>
                  <a:pt x="5003" y="115612"/>
                </a:lnTo>
                <a:lnTo>
                  <a:pt x="11052" y="117838"/>
                </a:lnTo>
                <a:lnTo>
                  <a:pt x="18129" y="119378"/>
                </a:lnTo>
                <a:lnTo>
                  <a:pt x="26219" y="119954"/>
                </a:lnTo>
                <a:lnTo>
                  <a:pt x="43639" y="117206"/>
                </a:lnTo>
                <a:lnTo>
                  <a:pt x="57218" y="109293"/>
                </a:lnTo>
                <a:lnTo>
                  <a:pt x="59052" y="106677"/>
                </a:lnTo>
                <a:lnTo>
                  <a:pt x="20407" y="106677"/>
                </a:lnTo>
                <a:lnTo>
                  <a:pt x="15099" y="104687"/>
                </a:lnTo>
                <a:lnTo>
                  <a:pt x="15099" y="57736"/>
                </a:lnTo>
                <a:lnTo>
                  <a:pt x="17758" y="56071"/>
                </a:lnTo>
                <a:lnTo>
                  <a:pt x="22564" y="54417"/>
                </a:lnTo>
                <a:lnTo>
                  <a:pt x="58719" y="54417"/>
                </a:lnTo>
                <a:lnTo>
                  <a:pt x="56720" y="51718"/>
                </a:lnTo>
                <a:lnTo>
                  <a:pt x="43639" y="43893"/>
                </a:lnTo>
                <a:lnTo>
                  <a:pt x="42174" y="43632"/>
                </a:lnTo>
                <a:lnTo>
                  <a:pt x="15099" y="43632"/>
                </a:lnTo>
                <a:lnTo>
                  <a:pt x="15099" y="0"/>
                </a:lnTo>
                <a:close/>
              </a:path>
              <a:path w="69215" h="120015">
                <a:moveTo>
                  <a:pt x="58719" y="54417"/>
                </a:moveTo>
                <a:lnTo>
                  <a:pt x="28208" y="54417"/>
                </a:lnTo>
                <a:lnTo>
                  <a:pt x="37545" y="56193"/>
                </a:lnTo>
                <a:lnTo>
                  <a:pt x="45794" y="61282"/>
                </a:lnTo>
                <a:lnTo>
                  <a:pt x="51679" y="69325"/>
                </a:lnTo>
                <a:lnTo>
                  <a:pt x="53925" y="79966"/>
                </a:lnTo>
                <a:lnTo>
                  <a:pt x="52046" y="90929"/>
                </a:lnTo>
                <a:lnTo>
                  <a:pt x="46605" y="99356"/>
                </a:lnTo>
                <a:lnTo>
                  <a:pt x="37898" y="104766"/>
                </a:lnTo>
                <a:lnTo>
                  <a:pt x="26219" y="106677"/>
                </a:lnTo>
                <a:lnTo>
                  <a:pt x="59052" y="106677"/>
                </a:lnTo>
                <a:lnTo>
                  <a:pt x="66037" y="96714"/>
                </a:lnTo>
                <a:lnTo>
                  <a:pt x="69181" y="79966"/>
                </a:lnTo>
                <a:lnTo>
                  <a:pt x="65788" y="63960"/>
                </a:lnTo>
                <a:lnTo>
                  <a:pt x="58719" y="54417"/>
                </a:lnTo>
                <a:close/>
              </a:path>
              <a:path w="69215" h="120015">
                <a:moveTo>
                  <a:pt x="28208" y="41140"/>
                </a:moveTo>
                <a:lnTo>
                  <a:pt x="21905" y="41140"/>
                </a:lnTo>
                <a:lnTo>
                  <a:pt x="17591" y="42469"/>
                </a:lnTo>
                <a:lnTo>
                  <a:pt x="15099" y="43632"/>
                </a:lnTo>
                <a:lnTo>
                  <a:pt x="42174" y="43632"/>
                </a:lnTo>
                <a:lnTo>
                  <a:pt x="28208" y="4114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1" dirty="0"/>
          </a:p>
        </p:txBody>
      </p:sp>
      <p:sp>
        <p:nvSpPr>
          <p:cNvPr id="23" name="bk object 23"/>
          <p:cNvSpPr>
            <a:spLocks noChangeAspect="1"/>
          </p:cNvSpPr>
          <p:nvPr/>
        </p:nvSpPr>
        <p:spPr>
          <a:xfrm>
            <a:off x="19163699" y="1079267"/>
            <a:ext cx="0" cy="75566"/>
          </a:xfrm>
          <a:custGeom>
            <a:avLst/>
            <a:gdLst/>
            <a:ahLst/>
            <a:cxnLst/>
            <a:rect l="l" t="t" r="r" b="b"/>
            <a:pathLst>
              <a:path h="75565">
                <a:moveTo>
                  <a:pt x="0" y="0"/>
                </a:moveTo>
                <a:lnTo>
                  <a:pt x="0" y="75160"/>
                </a:lnTo>
              </a:path>
            </a:pathLst>
          </a:custGeom>
          <a:ln w="15266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801" dirty="0"/>
          </a:p>
        </p:txBody>
      </p:sp>
      <p:sp>
        <p:nvSpPr>
          <p:cNvPr id="24" name="bk object 24"/>
          <p:cNvSpPr>
            <a:spLocks noChangeAspect="1"/>
          </p:cNvSpPr>
          <p:nvPr/>
        </p:nvSpPr>
        <p:spPr>
          <a:xfrm>
            <a:off x="19188937" y="1079270"/>
            <a:ext cx="66038" cy="77470"/>
          </a:xfrm>
          <a:custGeom>
            <a:avLst/>
            <a:gdLst/>
            <a:ahLst/>
            <a:cxnLst/>
            <a:rect l="l" t="t" r="r" b="b"/>
            <a:pathLst>
              <a:path w="66040" h="77469">
                <a:moveTo>
                  <a:pt x="15099" y="0"/>
                </a:moveTo>
                <a:lnTo>
                  <a:pt x="0" y="0"/>
                </a:lnTo>
                <a:lnTo>
                  <a:pt x="0" y="49778"/>
                </a:lnTo>
                <a:lnTo>
                  <a:pt x="2149" y="61096"/>
                </a:lnTo>
                <a:lnTo>
                  <a:pt x="8111" y="69662"/>
                </a:lnTo>
                <a:lnTo>
                  <a:pt x="17152" y="75087"/>
                </a:lnTo>
                <a:lnTo>
                  <a:pt x="28543" y="76981"/>
                </a:lnTo>
                <a:lnTo>
                  <a:pt x="40312" y="76981"/>
                </a:lnTo>
                <a:lnTo>
                  <a:pt x="45956" y="73997"/>
                </a:lnTo>
                <a:lnTo>
                  <a:pt x="51768" y="67694"/>
                </a:lnTo>
                <a:lnTo>
                  <a:pt x="65704" y="67694"/>
                </a:lnTo>
                <a:lnTo>
                  <a:pt x="65704" y="64039"/>
                </a:lnTo>
                <a:lnTo>
                  <a:pt x="19915" y="64039"/>
                </a:lnTo>
                <a:lnTo>
                  <a:pt x="15099" y="56082"/>
                </a:lnTo>
                <a:lnTo>
                  <a:pt x="15099" y="0"/>
                </a:lnTo>
                <a:close/>
              </a:path>
              <a:path w="66040" h="77469">
                <a:moveTo>
                  <a:pt x="65704" y="67694"/>
                </a:moveTo>
                <a:lnTo>
                  <a:pt x="51768" y="67694"/>
                </a:lnTo>
                <a:lnTo>
                  <a:pt x="52427" y="75160"/>
                </a:lnTo>
                <a:lnTo>
                  <a:pt x="65704" y="75160"/>
                </a:lnTo>
                <a:lnTo>
                  <a:pt x="65704" y="67694"/>
                </a:lnTo>
                <a:close/>
              </a:path>
              <a:path w="66040" h="77469">
                <a:moveTo>
                  <a:pt x="65704" y="0"/>
                </a:moveTo>
                <a:lnTo>
                  <a:pt x="50605" y="0"/>
                </a:lnTo>
                <a:lnTo>
                  <a:pt x="50605" y="56082"/>
                </a:lnTo>
                <a:lnTo>
                  <a:pt x="44626" y="64039"/>
                </a:lnTo>
                <a:lnTo>
                  <a:pt x="65704" y="64039"/>
                </a:lnTo>
                <a:lnTo>
                  <a:pt x="65704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1" dirty="0"/>
          </a:p>
        </p:txBody>
      </p:sp>
      <p:sp>
        <p:nvSpPr>
          <p:cNvPr id="25" name="bk object 25"/>
          <p:cNvSpPr>
            <a:spLocks noChangeAspect="1"/>
          </p:cNvSpPr>
          <p:nvPr/>
        </p:nvSpPr>
        <p:spPr>
          <a:xfrm>
            <a:off x="19272876" y="1077447"/>
            <a:ext cx="111760" cy="77470"/>
          </a:xfrm>
          <a:custGeom>
            <a:avLst/>
            <a:gdLst/>
            <a:ahLst/>
            <a:cxnLst/>
            <a:rect l="l" t="t" r="r" b="b"/>
            <a:pathLst>
              <a:path w="111759" h="77469">
                <a:moveTo>
                  <a:pt x="13266" y="1821"/>
                </a:moveTo>
                <a:lnTo>
                  <a:pt x="0" y="1821"/>
                </a:lnTo>
                <a:lnTo>
                  <a:pt x="0" y="76981"/>
                </a:lnTo>
                <a:lnTo>
                  <a:pt x="15099" y="76981"/>
                </a:lnTo>
                <a:lnTo>
                  <a:pt x="15099" y="18742"/>
                </a:lnTo>
                <a:lnTo>
                  <a:pt x="21067" y="13109"/>
                </a:lnTo>
                <a:lnTo>
                  <a:pt x="108446" y="13109"/>
                </a:lnTo>
                <a:lnTo>
                  <a:pt x="106643" y="10617"/>
                </a:lnTo>
                <a:lnTo>
                  <a:pt x="57903" y="10617"/>
                </a:lnTo>
                <a:lnTo>
                  <a:pt x="57003" y="9287"/>
                </a:lnTo>
                <a:lnTo>
                  <a:pt x="13936" y="9287"/>
                </a:lnTo>
                <a:lnTo>
                  <a:pt x="13266" y="1821"/>
                </a:lnTo>
                <a:close/>
              </a:path>
              <a:path w="111759" h="77469">
                <a:moveTo>
                  <a:pt x="69348" y="13109"/>
                </a:moveTo>
                <a:lnTo>
                  <a:pt x="42637" y="13109"/>
                </a:lnTo>
                <a:lnTo>
                  <a:pt x="48270" y="18083"/>
                </a:lnTo>
                <a:lnTo>
                  <a:pt x="48270" y="76981"/>
                </a:lnTo>
                <a:lnTo>
                  <a:pt x="63380" y="76981"/>
                </a:lnTo>
                <a:lnTo>
                  <a:pt x="63380" y="18742"/>
                </a:lnTo>
                <a:lnTo>
                  <a:pt x="69348" y="13109"/>
                </a:lnTo>
                <a:close/>
              </a:path>
              <a:path w="111759" h="77469">
                <a:moveTo>
                  <a:pt x="108446" y="13109"/>
                </a:moveTo>
                <a:lnTo>
                  <a:pt x="90751" y="13109"/>
                </a:lnTo>
                <a:lnTo>
                  <a:pt x="96394" y="18083"/>
                </a:lnTo>
                <a:lnTo>
                  <a:pt x="96394" y="76981"/>
                </a:lnTo>
                <a:lnTo>
                  <a:pt x="111493" y="76981"/>
                </a:lnTo>
                <a:lnTo>
                  <a:pt x="111493" y="24219"/>
                </a:lnTo>
                <a:lnTo>
                  <a:pt x="109491" y="14555"/>
                </a:lnTo>
                <a:lnTo>
                  <a:pt x="108446" y="13109"/>
                </a:lnTo>
                <a:close/>
              </a:path>
              <a:path w="111759" h="77469">
                <a:moveTo>
                  <a:pt x="84950" y="0"/>
                </a:moveTo>
                <a:lnTo>
                  <a:pt x="75638" y="841"/>
                </a:lnTo>
                <a:lnTo>
                  <a:pt x="68191" y="3129"/>
                </a:lnTo>
                <a:lnTo>
                  <a:pt x="62362" y="6506"/>
                </a:lnTo>
                <a:lnTo>
                  <a:pt x="57903" y="10617"/>
                </a:lnTo>
                <a:lnTo>
                  <a:pt x="106643" y="10617"/>
                </a:lnTo>
                <a:lnTo>
                  <a:pt x="103943" y="6883"/>
                </a:lnTo>
                <a:lnTo>
                  <a:pt x="95519" y="1821"/>
                </a:lnTo>
                <a:lnTo>
                  <a:pt x="84950" y="0"/>
                </a:lnTo>
                <a:close/>
              </a:path>
              <a:path w="111759" h="77469">
                <a:moveTo>
                  <a:pt x="46124" y="0"/>
                </a:moveTo>
                <a:lnTo>
                  <a:pt x="25046" y="0"/>
                </a:lnTo>
                <a:lnTo>
                  <a:pt x="19737" y="2984"/>
                </a:lnTo>
                <a:lnTo>
                  <a:pt x="13936" y="9287"/>
                </a:lnTo>
                <a:lnTo>
                  <a:pt x="57003" y="9287"/>
                </a:lnTo>
                <a:lnTo>
                  <a:pt x="54082" y="4973"/>
                </a:lnTo>
                <a:lnTo>
                  <a:pt x="46124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1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1917409" y="3765500"/>
            <a:ext cx="4742074" cy="255916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5937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6" name="Content Placeholder 2"/>
          <p:cNvSpPr>
            <a:spLocks noGrp="1"/>
          </p:cNvSpPr>
          <p:nvPr>
            <p:ph idx="1"/>
          </p:nvPr>
        </p:nvSpPr>
        <p:spPr>
          <a:xfrm>
            <a:off x="8280003" y="1663202"/>
            <a:ext cx="10177463" cy="2115194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00">
                <a:solidFill>
                  <a:schemeClr val="bg1"/>
                </a:solidFill>
              </a:defRPr>
            </a:lvl1pPr>
            <a:lvl2pPr marL="685859" indent="-228620">
              <a:buFont typeface="AppleSymbols" charset="0"/>
              <a:buChar char="－"/>
              <a:defRPr sz="2800" b="0" i="0" baseline="0">
                <a:solidFill>
                  <a:schemeClr val="accent2"/>
                </a:solidFill>
              </a:defRPr>
            </a:lvl2pPr>
            <a:lvl3pPr marL="1143098" indent="-228620">
              <a:buFont typeface=".AppleSystemUIFont" charset="-120"/>
              <a:buChar char="-"/>
              <a:defRPr sz="2398">
                <a:solidFill>
                  <a:schemeClr val="tx2"/>
                </a:solidFill>
              </a:defRPr>
            </a:lvl3pPr>
            <a:lvl4pPr marL="1600339" indent="-228620">
              <a:buFont typeface=".AppleSystemUIFont" charset="-120"/>
              <a:buChar char="-"/>
              <a:defRPr sz="2000">
                <a:solidFill>
                  <a:schemeClr val="tx2"/>
                </a:solidFill>
              </a:defRPr>
            </a:lvl4pPr>
            <a:lvl5pPr>
              <a:defRPr sz="2000">
                <a:solidFill>
                  <a:schemeClr val="bg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>
            <a:spLocks noChangeAspect="1"/>
          </p:cNvSpPr>
          <p:nvPr/>
        </p:nvSpPr>
        <p:spPr>
          <a:xfrm flipH="1">
            <a:off x="1" y="9"/>
            <a:ext cx="7539038" cy="11308715"/>
          </a:xfrm>
          <a:custGeom>
            <a:avLst/>
            <a:gdLst/>
            <a:ahLst/>
            <a:cxnLst/>
            <a:rect l="l" t="t" r="r" b="b"/>
            <a:pathLst>
              <a:path w="12565380" h="11308715">
                <a:moveTo>
                  <a:pt x="12565062" y="11308556"/>
                </a:moveTo>
                <a:lnTo>
                  <a:pt x="0" y="11308556"/>
                </a:lnTo>
                <a:lnTo>
                  <a:pt x="0" y="0"/>
                </a:lnTo>
                <a:lnTo>
                  <a:pt x="12565062" y="0"/>
                </a:lnTo>
                <a:lnTo>
                  <a:pt x="12565062" y="11308556"/>
                </a:lnTo>
                <a:close/>
              </a:path>
            </a:pathLst>
          </a:custGeom>
          <a:solidFill>
            <a:srgbClr val="485865"/>
          </a:solidFill>
        </p:spPr>
        <p:txBody>
          <a:bodyPr wrap="square" lIns="0" tIns="0" rIns="0" bIns="0" rtlCol="0"/>
          <a:lstStyle/>
          <a:p>
            <a:endParaRPr sz="1801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1917409" y="3765500"/>
            <a:ext cx="4742074" cy="255916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5937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5</a:t>
            </a:r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8280000" y="9921875"/>
            <a:ext cx="10526275" cy="381000"/>
          </a:xfrm>
        </p:spPr>
        <p:txBody>
          <a:bodyPr>
            <a:normAutofit/>
          </a:bodyPr>
          <a:lstStyle>
            <a:lvl1pPr marL="20943" indent="0">
              <a:buNone/>
              <a:defRPr sz="1600" i="1"/>
            </a:lvl1pPr>
            <a:lvl5pPr algn="l">
              <a:defRPr/>
            </a:lvl5pPr>
          </a:lstStyle>
          <a:p>
            <a:pPr lvl="0"/>
            <a:r>
              <a:rPr lang="en-US" dirty="0"/>
              <a:t>Data Credit</a:t>
            </a:r>
          </a:p>
        </p:txBody>
      </p:sp>
      <p:sp>
        <p:nvSpPr>
          <p:cNvPr id="28" name="Content Placeholder 3"/>
          <p:cNvSpPr>
            <a:spLocks noGrp="1"/>
          </p:cNvSpPr>
          <p:nvPr>
            <p:ph sz="half" idx="2"/>
          </p:nvPr>
        </p:nvSpPr>
        <p:spPr>
          <a:xfrm>
            <a:off x="8280004" y="1339201"/>
            <a:ext cx="10557025" cy="1892762"/>
          </a:xfrm>
        </p:spPr>
        <p:txBody>
          <a:bodyPr/>
          <a:lstStyle>
            <a:lvl2pPr marL="685859" indent="-228620">
              <a:buFont typeface=".AppleSystemUIFont" charset="-120"/>
              <a:buChar char="-"/>
              <a:defRPr b="0" i="0" baseline="0">
                <a:solidFill>
                  <a:schemeClr val="accent1"/>
                </a:solidFill>
              </a:defRPr>
            </a:lvl2pPr>
            <a:lvl3pPr marL="1143098" indent="-228620">
              <a:buFont typeface=".AppleSystemUIFont" charset="-120"/>
              <a:buChar char="-"/>
              <a:defRPr/>
            </a:lvl3pPr>
            <a:lvl4pPr marL="1600339" indent="-228620">
              <a:buFont typeface=".AppleSystemUIFont" charset="-120"/>
              <a:buChar char="-"/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7" name="Imagem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08634" y="11209"/>
            <a:ext cx="2520280" cy="141758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DAB676-A6D6-0840-9F57-57A1A1522E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63201" y="1339107"/>
            <a:ext cx="10626955" cy="914609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bk object 16">
            <a:extLst>
              <a:ext uri="{FF2B5EF4-FFF2-40B4-BE49-F238E27FC236}">
                <a16:creationId xmlns:a16="http://schemas.microsoft.com/office/drawing/2014/main" id="{A71C9D41-B2C4-EE46-AD97-7CBBD1C8D62A}"/>
              </a:ext>
            </a:extLst>
          </p:cNvPr>
          <p:cNvSpPr>
            <a:spLocks noChangeAspect="1"/>
          </p:cNvSpPr>
          <p:nvPr userDrawn="1"/>
        </p:nvSpPr>
        <p:spPr>
          <a:xfrm flipH="1">
            <a:off x="12543094" y="9"/>
            <a:ext cx="7539038" cy="11308715"/>
          </a:xfrm>
          <a:custGeom>
            <a:avLst/>
            <a:gdLst/>
            <a:ahLst/>
            <a:cxnLst/>
            <a:rect l="l" t="t" r="r" b="b"/>
            <a:pathLst>
              <a:path w="12565380" h="11308715">
                <a:moveTo>
                  <a:pt x="12565062" y="11308556"/>
                </a:moveTo>
                <a:lnTo>
                  <a:pt x="0" y="11308556"/>
                </a:lnTo>
                <a:lnTo>
                  <a:pt x="0" y="0"/>
                </a:lnTo>
                <a:lnTo>
                  <a:pt x="12565062" y="0"/>
                </a:lnTo>
                <a:lnTo>
                  <a:pt x="12565062" y="11308556"/>
                </a:lnTo>
                <a:close/>
              </a:path>
            </a:pathLst>
          </a:custGeom>
          <a:solidFill>
            <a:srgbClr val="485865"/>
          </a:solidFill>
        </p:spPr>
        <p:txBody>
          <a:bodyPr wrap="square" lIns="0" tIns="0" rIns="0" bIns="0" rtlCol="0"/>
          <a:lstStyle/>
          <a:p>
            <a:endParaRPr sz="1801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49B17FB-C07D-3F47-81ED-6D2311F66EA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5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58847AF7-AB59-9448-B6E2-46AF19728FF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674027" y="2630340"/>
            <a:ext cx="10557025" cy="1892762"/>
          </a:xfrm>
        </p:spPr>
        <p:txBody>
          <a:bodyPr/>
          <a:lstStyle>
            <a:lvl2pPr marL="685859" indent="-228620">
              <a:buFont typeface=".AppleSystemUIFont" charset="-120"/>
              <a:buChar char="-"/>
              <a:defRPr b="0" i="0" baseline="0">
                <a:solidFill>
                  <a:schemeClr val="accent1"/>
                </a:solidFill>
              </a:defRPr>
            </a:lvl2pPr>
            <a:lvl3pPr marL="1143098" indent="-228620">
              <a:buFont typeface=".AppleSystemUIFont" charset="-120"/>
              <a:buChar char="-"/>
              <a:defRPr/>
            </a:lvl3pPr>
            <a:lvl4pPr marL="1600339" indent="-228620">
              <a:buFont typeface=".AppleSystemUIFont" charset="-120"/>
              <a:buChar char="-"/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1109573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63201" y="1339008"/>
            <a:ext cx="6005040" cy="1736886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5937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747796" y="1339205"/>
            <a:ext cx="1985095" cy="8476739"/>
          </a:xfrm>
        </p:spPr>
        <p:txBody>
          <a:bodyPr vert="vert270"/>
          <a:lstStyle>
            <a:lvl1pPr>
              <a:defRPr sz="2968" baseline="0"/>
            </a:lvl1pPr>
            <a:lvl2pPr marL="685859" indent="-228620">
              <a:buFont typeface=".AppleSystemUIFont" charset="-120"/>
              <a:buChar char="-"/>
              <a:defRPr lang="en-US" sz="2400" b="0" i="0" kern="1200" baseline="0" dirty="0" smtClean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2pPr>
            <a:lvl3pPr marL="1143098" indent="-228620">
              <a:buFont typeface=".AppleSystemUIFont" charset="-120"/>
              <a:buChar char="-"/>
              <a:defRPr>
                <a:solidFill>
                  <a:srgbClr val="485865"/>
                </a:solidFill>
              </a:defRPr>
            </a:lvl3pPr>
            <a:lvl4pPr marL="1600339" indent="-228620">
              <a:buFont typeface=".AppleSystemUIFont" charset="-120"/>
              <a:buChar char="-"/>
              <a:defRPr>
                <a:solidFill>
                  <a:srgbClr val="485865"/>
                </a:solidFill>
              </a:defRPr>
            </a:lvl4pPr>
            <a:lvl5pPr>
              <a:defRPr>
                <a:solidFill>
                  <a:srgbClr val="485865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5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1663201" y="9921875"/>
            <a:ext cx="17058187" cy="381000"/>
          </a:xfrm>
        </p:spPr>
        <p:txBody>
          <a:bodyPr>
            <a:normAutofit/>
          </a:bodyPr>
          <a:lstStyle>
            <a:lvl1pPr marL="20943" indent="0">
              <a:buNone/>
              <a:defRPr sz="1600" i="1"/>
            </a:lvl1pPr>
            <a:lvl5pPr algn="l">
              <a:defRPr/>
            </a:lvl5pPr>
          </a:lstStyle>
          <a:p>
            <a:pPr lvl="0"/>
            <a:r>
              <a:rPr lang="en-US" dirty="0"/>
              <a:t>Data Credit</a:t>
            </a:r>
          </a:p>
        </p:txBody>
      </p:sp>
      <p:pic>
        <p:nvPicPr>
          <p:cNvPr id="7" name="Imagem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08634" y="11209"/>
            <a:ext cx="2520280" cy="141758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63009" y="1339206"/>
            <a:ext cx="1829219" cy="8476739"/>
          </a:xfrm>
          <a:prstGeom prst="rect">
            <a:avLst/>
          </a:prstGeom>
        </p:spPr>
        <p:txBody>
          <a:bodyPr vert="vert270" wrap="square">
            <a:spAutoFit/>
          </a:bodyPr>
          <a:lstStyle>
            <a:lvl1pPr>
              <a:defRPr sz="5937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71332" y="1339205"/>
            <a:ext cx="1985095" cy="8476739"/>
          </a:xfrm>
        </p:spPr>
        <p:txBody>
          <a:bodyPr vert="vert270"/>
          <a:lstStyle>
            <a:lvl1pPr>
              <a:defRPr sz="2968" baseline="0"/>
            </a:lvl1pPr>
            <a:lvl2pPr marL="685859" indent="-228620">
              <a:buFont typeface=".AppleSystemUIFont" charset="-120"/>
              <a:buChar char="-"/>
              <a:defRPr lang="en-US" sz="2400" b="0" i="0" kern="1200" baseline="0" dirty="0" smtClean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2pPr>
            <a:lvl3pPr marL="1143098" indent="-228620">
              <a:buFont typeface=".AppleSystemUIFont" charset="-120"/>
              <a:buChar char="-"/>
              <a:defRPr>
                <a:solidFill>
                  <a:srgbClr val="485865"/>
                </a:solidFill>
              </a:defRPr>
            </a:lvl3pPr>
            <a:lvl4pPr marL="1600339" indent="-228620">
              <a:buFont typeface=".AppleSystemUIFont" charset="-120"/>
              <a:buChar char="-"/>
              <a:defRPr>
                <a:solidFill>
                  <a:srgbClr val="485865"/>
                </a:solidFill>
              </a:defRPr>
            </a:lvl4pPr>
            <a:lvl5pPr>
              <a:defRPr>
                <a:solidFill>
                  <a:srgbClr val="485865"/>
                </a:solidFill>
              </a:defRPr>
            </a:lvl5pPr>
          </a:lstStyle>
          <a:p>
            <a:pPr lvl="0"/>
            <a:r>
              <a:rPr lang="en-US" dirty="0"/>
              <a:t> Click to edit Master text styles</a:t>
            </a:r>
          </a:p>
          <a:p>
            <a:pPr marL="685859" lvl="1" indent="-228620" algn="l" defTabSz="914478" rtl="0" eaLnBrk="1" latinLnBrk="0" hangingPunct="1">
              <a:lnSpc>
                <a:spcPct val="90000"/>
              </a:lnSpc>
              <a:spcBef>
                <a:spcPts val="500"/>
              </a:spcBef>
              <a:buFont typeface=".AppleSystemUIFont" charset="-120"/>
              <a:buChar char="-"/>
            </a:pPr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5</a:t>
            </a:r>
          </a:p>
        </p:txBody>
      </p:sp>
      <p:pic>
        <p:nvPicPr>
          <p:cNvPr id="5" name="Imagem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08634" y="11209"/>
            <a:ext cx="2520280" cy="141758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5</a:t>
            </a:r>
          </a:p>
        </p:txBody>
      </p:sp>
      <p:pic>
        <p:nvPicPr>
          <p:cNvPr id="3" name="Imagem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08634" y="11209"/>
            <a:ext cx="2520280" cy="14175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995108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499BD597-4993-465B-9C30-10EDE03CB1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317" imgH="318" progId="TCLayout.ActiveDocument.1">
                  <p:embed/>
                </p:oleObj>
              </mc:Choice>
              <mc:Fallback>
                <p:oleObj name="Slide do think-cell" r:id="rId3" imgW="317" imgH="318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499BD597-4993-465B-9C30-10EDE03CB1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2956" y="275762"/>
            <a:ext cx="17058188" cy="91441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5936" baseline="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19341082" y="10669637"/>
            <a:ext cx="720080" cy="601662"/>
          </a:xfrm>
        </p:spPr>
        <p:txBody>
          <a:bodyPr/>
          <a:lstStyle>
            <a:lvl1pPr>
              <a:defRPr sz="1800" b="1">
                <a:solidFill>
                  <a:srgbClr val="000000"/>
                </a:solidFill>
              </a:defRPr>
            </a:lvl1pPr>
          </a:lstStyle>
          <a:p>
            <a:fld id="{BE418F81-F092-F643-8EAE-268022441A30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9" name="Espaço Reservado para Rodapé 4"/>
          <p:cNvSpPr txBox="1">
            <a:spLocks/>
          </p:cNvSpPr>
          <p:nvPr userDrawn="1"/>
        </p:nvSpPr>
        <p:spPr>
          <a:xfrm>
            <a:off x="139998" y="10977567"/>
            <a:ext cx="1911769" cy="152160"/>
          </a:xfrm>
          <a:prstGeom prst="rect">
            <a:avLst/>
          </a:prstGeom>
        </p:spPr>
        <p:txBody>
          <a:bodyPr wrap="square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7857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1" u="none" strike="noStrike" kern="1200" cap="none" spc="0" normalizeH="0" baseline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 Content - CBMM</a:t>
            </a:r>
            <a:endParaRPr kumimoji="0" lang="en-US" sz="1000" b="1" i="1" u="none" strike="noStrike" kern="1200" cap="none" spc="0" normalizeH="0" baseline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6" name="Imagem 5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08634" y="11209"/>
            <a:ext cx="2520280" cy="14175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12435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63201" y="1339109"/>
            <a:ext cx="17058187" cy="91460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5937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63201" y="2520001"/>
            <a:ext cx="17058187" cy="1892762"/>
          </a:xfrm>
        </p:spPr>
        <p:txBody>
          <a:bodyPr wrap="square">
            <a:spAutoFit/>
          </a:bodyPr>
          <a:lstStyle>
            <a:lvl1pPr marL="446103" indent="-446103">
              <a:tabLst/>
              <a:defRPr sz="2968" baseline="0"/>
            </a:lvl1pPr>
            <a:lvl2pPr marL="685859" indent="-228620">
              <a:buFont typeface=".AppleSystemUIFont" charset="-120"/>
              <a:buChar char="-"/>
              <a:defRPr sz="2400" b="0" i="0" baseline="0">
                <a:solidFill>
                  <a:schemeClr val="accent1"/>
                </a:solidFill>
              </a:defRPr>
            </a:lvl2pPr>
            <a:lvl3pPr marL="1143098" indent="-228620">
              <a:buFont typeface=".AppleSystemUIFont" charset="-120"/>
              <a:buChar char="-"/>
              <a:defRPr>
                <a:solidFill>
                  <a:srgbClr val="485865"/>
                </a:solidFill>
              </a:defRPr>
            </a:lvl3pPr>
            <a:lvl4pPr marL="1600339" indent="-228620">
              <a:buFont typeface=".AppleSystemUIFont" charset="-120"/>
              <a:buChar char="-"/>
              <a:defRPr>
                <a:solidFill>
                  <a:srgbClr val="485865"/>
                </a:solidFill>
              </a:defRPr>
            </a:lvl4pPr>
            <a:lvl5pPr>
              <a:defRPr>
                <a:solidFill>
                  <a:srgbClr val="485865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5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1663201" y="9921875"/>
            <a:ext cx="17058187" cy="381000"/>
          </a:xfrm>
        </p:spPr>
        <p:txBody>
          <a:bodyPr>
            <a:normAutofit/>
          </a:bodyPr>
          <a:lstStyle>
            <a:lvl1pPr marL="20943" indent="0">
              <a:buNone/>
              <a:defRPr sz="1600" i="1"/>
            </a:lvl1pPr>
            <a:lvl5pPr algn="l">
              <a:defRPr/>
            </a:lvl5pPr>
          </a:lstStyle>
          <a:p>
            <a:pPr lvl="0"/>
            <a:r>
              <a:rPr lang="en-US" dirty="0"/>
              <a:t>Data Credit</a:t>
            </a:r>
          </a:p>
        </p:txBody>
      </p:sp>
      <p:pic>
        <p:nvPicPr>
          <p:cNvPr id="7" name="Imagem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08634" y="11209"/>
            <a:ext cx="2520280" cy="141758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-STRUCTU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63201" y="1339109"/>
            <a:ext cx="17058187" cy="91460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5937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63201" y="2520001"/>
            <a:ext cx="17058187" cy="1892762"/>
          </a:xfrm>
        </p:spPr>
        <p:txBody>
          <a:bodyPr wrap="square">
            <a:spAutoFit/>
          </a:bodyPr>
          <a:lstStyle>
            <a:lvl1pPr marL="446103" indent="-446103">
              <a:tabLst/>
              <a:defRPr sz="2968" baseline="0"/>
            </a:lvl1pPr>
            <a:lvl2pPr marL="685859" indent="-228620">
              <a:buFont typeface=".AppleSystemUIFont" charset="-120"/>
              <a:buChar char="-"/>
              <a:defRPr sz="2400" b="0" i="0" baseline="0">
                <a:solidFill>
                  <a:schemeClr val="accent1"/>
                </a:solidFill>
              </a:defRPr>
            </a:lvl2pPr>
            <a:lvl3pPr marL="1143098" indent="-228620">
              <a:buFont typeface=".AppleSystemUIFont" charset="-120"/>
              <a:buChar char="-"/>
              <a:defRPr>
                <a:solidFill>
                  <a:srgbClr val="485865"/>
                </a:solidFill>
              </a:defRPr>
            </a:lvl3pPr>
            <a:lvl4pPr marL="1600339" indent="-228620">
              <a:buFont typeface=".AppleSystemUIFont" charset="-120"/>
              <a:buChar char="-"/>
              <a:defRPr>
                <a:solidFill>
                  <a:srgbClr val="485865"/>
                </a:solidFill>
              </a:defRPr>
            </a:lvl4pPr>
            <a:lvl5pPr>
              <a:defRPr>
                <a:solidFill>
                  <a:srgbClr val="485865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5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1663201" y="9921875"/>
            <a:ext cx="17058187" cy="381000"/>
          </a:xfrm>
        </p:spPr>
        <p:txBody>
          <a:bodyPr>
            <a:normAutofit/>
          </a:bodyPr>
          <a:lstStyle>
            <a:lvl1pPr marL="20943" indent="0">
              <a:buNone/>
              <a:defRPr sz="1600" i="1"/>
            </a:lvl1pPr>
            <a:lvl5pPr algn="l">
              <a:defRPr/>
            </a:lvl5pPr>
          </a:lstStyle>
          <a:p>
            <a:pPr lvl="0"/>
            <a:r>
              <a:rPr lang="en-US" dirty="0"/>
              <a:t>Data Credit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776CBA6-BCA4-8147-AD1D-D450799F5E8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962" y="1339200"/>
            <a:ext cx="1642864" cy="8722826"/>
          </a:xfrm>
          <a:prstGeom prst="rect">
            <a:avLst/>
          </a:prstGeom>
        </p:spPr>
      </p:pic>
      <p:pic>
        <p:nvPicPr>
          <p:cNvPr id="9" name="Imagem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08634" y="11209"/>
            <a:ext cx="2520280" cy="14175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76263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63201" y="1339109"/>
            <a:ext cx="17058187" cy="91460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5937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5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1663201" y="9921875"/>
            <a:ext cx="17058187" cy="381000"/>
          </a:xfrm>
        </p:spPr>
        <p:txBody>
          <a:bodyPr>
            <a:normAutofit/>
          </a:bodyPr>
          <a:lstStyle>
            <a:lvl1pPr marL="20943" indent="0">
              <a:buNone/>
              <a:defRPr sz="1600" i="1"/>
            </a:lvl1pPr>
            <a:lvl5pPr algn="l">
              <a:defRPr/>
            </a:lvl5pPr>
          </a:lstStyle>
          <a:p>
            <a:pPr lvl="0"/>
            <a:r>
              <a:rPr lang="en-US" dirty="0"/>
              <a:t>Data Credit</a:t>
            </a:r>
          </a:p>
        </p:txBody>
      </p:sp>
      <p:pic>
        <p:nvPicPr>
          <p:cNvPr id="5" name="Imagem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08634" y="11209"/>
            <a:ext cx="2520280" cy="141758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63201" y="1339109"/>
            <a:ext cx="17058187" cy="91460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5937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663201" y="2520006"/>
            <a:ext cx="17058187" cy="549061"/>
          </a:xfrm>
        </p:spPr>
        <p:txBody>
          <a:bodyPr wrap="square">
            <a:spAutoFit/>
          </a:bodyPr>
          <a:lstStyle>
            <a:lvl1pPr marL="20943" indent="0">
              <a:buFontTx/>
              <a:buNone/>
              <a:defRPr sz="2968" baseline="0"/>
            </a:lvl1pPr>
            <a:lvl2pPr>
              <a:defRPr sz="2474" baseline="0"/>
            </a:lvl2pPr>
            <a:lvl3pPr>
              <a:defRPr>
                <a:solidFill>
                  <a:srgbClr val="485865"/>
                </a:solidFill>
              </a:defRPr>
            </a:lvl3pPr>
            <a:lvl4pPr>
              <a:defRPr>
                <a:solidFill>
                  <a:srgbClr val="485865"/>
                </a:solidFill>
              </a:defRPr>
            </a:lvl4pPr>
            <a:lvl5pPr>
              <a:defRPr>
                <a:solidFill>
                  <a:srgbClr val="485865"/>
                </a:solidFill>
              </a:defRPr>
            </a:lvl5pPr>
          </a:lstStyle>
          <a:p>
            <a:pPr lvl="0"/>
            <a:r>
              <a:rPr lang="en-US" dirty="0"/>
              <a:t>Body text </a:t>
            </a:r>
            <a:r>
              <a:rPr lang="mr-IN" dirty="0"/>
              <a:t>–</a:t>
            </a:r>
            <a:r>
              <a:rPr lang="en-US" dirty="0"/>
              <a:t> no bullet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5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1663201" y="9921875"/>
            <a:ext cx="17058187" cy="381000"/>
          </a:xfrm>
        </p:spPr>
        <p:txBody>
          <a:bodyPr>
            <a:normAutofit/>
          </a:bodyPr>
          <a:lstStyle>
            <a:lvl1pPr marL="20943" indent="0">
              <a:buNone/>
              <a:defRPr sz="1600" i="1"/>
            </a:lvl1pPr>
            <a:lvl5pPr algn="l">
              <a:defRPr/>
            </a:lvl5pPr>
          </a:lstStyle>
          <a:p>
            <a:pPr lvl="0"/>
            <a:r>
              <a:rPr lang="en-US" dirty="0"/>
              <a:t>Data Credit</a:t>
            </a:r>
          </a:p>
        </p:txBody>
      </p:sp>
      <p:pic>
        <p:nvPicPr>
          <p:cNvPr id="7" name="Imagem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08634" y="11209"/>
            <a:ext cx="2520280" cy="141758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5</a:t>
            </a:r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1663200" y="9921875"/>
            <a:ext cx="17389850" cy="381000"/>
          </a:xfrm>
        </p:spPr>
        <p:txBody>
          <a:bodyPr>
            <a:normAutofit/>
          </a:bodyPr>
          <a:lstStyle>
            <a:lvl1pPr marL="20943" indent="0">
              <a:buNone/>
              <a:defRPr sz="1600" i="1"/>
            </a:lvl1pPr>
            <a:lvl5pPr algn="l">
              <a:defRPr/>
            </a:lvl5pPr>
          </a:lstStyle>
          <a:p>
            <a:pPr lvl="0"/>
            <a:r>
              <a:rPr lang="en-US" dirty="0"/>
              <a:t>Data Credit</a:t>
            </a:r>
          </a:p>
        </p:txBody>
      </p:sp>
      <p:pic>
        <p:nvPicPr>
          <p:cNvPr id="5" name="Imagem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08634" y="11209"/>
            <a:ext cx="2520280" cy="141758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63204" y="1339109"/>
            <a:ext cx="17084495" cy="91460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5937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261388" y="2732401"/>
            <a:ext cx="8460000" cy="1808380"/>
          </a:xfrm>
        </p:spPr>
        <p:txBody>
          <a:bodyPr/>
          <a:lstStyle>
            <a:lvl1pPr marL="457216" indent="-457216">
              <a:defRPr lang="en-US" sz="2968" kern="1200" baseline="0" dirty="0" smtClean="0">
                <a:solidFill>
                  <a:srgbClr val="485865"/>
                </a:solidFill>
                <a:latin typeface="Trebuchet MS" charset="0"/>
                <a:ea typeface="Trebuchet MS" charset="0"/>
                <a:cs typeface="Trebuchet MS" charset="0"/>
              </a:defRPr>
            </a:lvl1pPr>
            <a:lvl2pPr marL="685859" indent="-228620">
              <a:buFont typeface=".AppleSystemUIFont" charset="-120"/>
              <a:buChar char="-"/>
              <a:defRPr b="0" i="0" baseline="0">
                <a:solidFill>
                  <a:schemeClr val="accent1"/>
                </a:solidFill>
              </a:defRPr>
            </a:lvl2pPr>
            <a:lvl3pPr marL="1143098" indent="-228620">
              <a:buFont typeface=".AppleSystemUIFont" charset="-120"/>
              <a:buChar char="-"/>
              <a:defRPr/>
            </a:lvl3pPr>
            <a:lvl4pPr marL="1600339" indent="-228620">
              <a:buFont typeface=".AppleSystemUIFont" charset="-120"/>
              <a:buChar char="-"/>
              <a:defRPr/>
            </a:lvl4pPr>
          </a:lstStyle>
          <a:p>
            <a:pPr marL="446103" marR="0" lvl="0" indent="-446103" algn="l" defTabSz="914478" rtl="0" eaLnBrk="1" fontAlgn="auto" latinLnBrk="0" hangingPunct="1">
              <a:lnSpc>
                <a:spcPct val="100000"/>
              </a:lnSpc>
              <a:spcBef>
                <a:spcPts val="115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marL="446103" marR="0" lvl="1" indent="-446103" algn="l" defTabSz="914478" rtl="0" eaLnBrk="1" fontAlgn="auto" latinLnBrk="0" hangingPunct="1">
              <a:lnSpc>
                <a:spcPct val="100000"/>
              </a:lnSpc>
              <a:spcBef>
                <a:spcPts val="115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/>
              <a:t>Second level</a:t>
            </a:r>
          </a:p>
          <a:p>
            <a:pPr marL="446103" marR="0" lvl="2" indent="-446103" algn="l" defTabSz="914478" rtl="0" eaLnBrk="1" fontAlgn="auto" latinLnBrk="0" hangingPunct="1">
              <a:lnSpc>
                <a:spcPct val="100000"/>
              </a:lnSpc>
              <a:spcBef>
                <a:spcPts val="115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/>
              <a:t>Third level</a:t>
            </a:r>
          </a:p>
          <a:p>
            <a:pPr marL="446103" marR="0" lvl="3" indent="-446103" algn="l" defTabSz="914478" rtl="0" eaLnBrk="1" fontAlgn="auto" latinLnBrk="0" hangingPunct="1">
              <a:lnSpc>
                <a:spcPct val="100000"/>
              </a:lnSpc>
              <a:spcBef>
                <a:spcPts val="115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/>
              <a:t>Fourth level</a:t>
            </a:r>
          </a:p>
          <a:p>
            <a:pPr marL="446103" marR="0" lvl="4" indent="-446103" algn="l" defTabSz="914478" rtl="0" eaLnBrk="1" fontAlgn="auto" latinLnBrk="0" hangingPunct="1">
              <a:lnSpc>
                <a:spcPct val="100000"/>
              </a:lnSpc>
              <a:spcBef>
                <a:spcPts val="115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5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1663201" y="9921875"/>
            <a:ext cx="17058187" cy="381000"/>
          </a:xfrm>
        </p:spPr>
        <p:txBody>
          <a:bodyPr>
            <a:normAutofit/>
          </a:bodyPr>
          <a:lstStyle>
            <a:lvl1pPr marL="20943" indent="0">
              <a:buNone/>
              <a:defRPr sz="1600" i="1"/>
            </a:lvl1pPr>
            <a:lvl5pPr algn="l">
              <a:defRPr/>
            </a:lvl5pPr>
          </a:lstStyle>
          <a:p>
            <a:pPr lvl="0"/>
            <a:r>
              <a:rPr lang="en-US" dirty="0"/>
              <a:t>Data Credit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12"/>
          </p:nvPr>
        </p:nvSpPr>
        <p:spPr>
          <a:xfrm>
            <a:off x="1663200" y="2732401"/>
            <a:ext cx="8460858" cy="1808380"/>
          </a:xfrm>
        </p:spPr>
        <p:txBody>
          <a:bodyPr/>
          <a:lstStyle>
            <a:lvl1pPr marL="457216" indent="-457216">
              <a:defRPr lang="en-US" sz="2968" kern="1200" baseline="0" dirty="0" smtClean="0">
                <a:solidFill>
                  <a:srgbClr val="485865"/>
                </a:solidFill>
                <a:latin typeface="Trebuchet MS" charset="0"/>
                <a:ea typeface="Trebuchet MS" charset="0"/>
                <a:cs typeface="Trebuchet MS" charset="0"/>
              </a:defRPr>
            </a:lvl1pPr>
            <a:lvl2pPr marL="685859" indent="-228620">
              <a:buFont typeface=".AppleSystemUIFont" charset="-120"/>
              <a:buChar char="-"/>
              <a:defRPr b="0" i="0" baseline="0">
                <a:solidFill>
                  <a:schemeClr val="accent1"/>
                </a:solidFill>
              </a:defRPr>
            </a:lvl2pPr>
            <a:lvl3pPr marL="1143098" indent="-228620">
              <a:buFont typeface=".AppleSystemUIFont" charset="-120"/>
              <a:buChar char="-"/>
              <a:defRPr/>
            </a:lvl3pPr>
            <a:lvl4pPr marL="1600339" indent="-228620">
              <a:buFont typeface=".AppleSystemUIFont" charset="-120"/>
              <a:buChar char="-"/>
              <a:defRPr/>
            </a:lvl4pPr>
          </a:lstStyle>
          <a:p>
            <a:pPr marL="446103" marR="0" lvl="0" indent="-446103" algn="l" defTabSz="914478" rtl="0" eaLnBrk="1" fontAlgn="auto" latinLnBrk="0" hangingPunct="1">
              <a:lnSpc>
                <a:spcPct val="100000"/>
              </a:lnSpc>
              <a:spcBef>
                <a:spcPts val="115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marL="446103" marR="0" lvl="1" indent="-446103" algn="l" defTabSz="914478" rtl="0" eaLnBrk="1" fontAlgn="auto" latinLnBrk="0" hangingPunct="1">
              <a:lnSpc>
                <a:spcPct val="100000"/>
              </a:lnSpc>
              <a:spcBef>
                <a:spcPts val="115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/>
              <a:t>Second level</a:t>
            </a:r>
          </a:p>
          <a:p>
            <a:pPr marL="446103" marR="0" lvl="2" indent="-446103" algn="l" defTabSz="914478" rtl="0" eaLnBrk="1" fontAlgn="auto" latinLnBrk="0" hangingPunct="1">
              <a:lnSpc>
                <a:spcPct val="100000"/>
              </a:lnSpc>
              <a:spcBef>
                <a:spcPts val="115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/>
              <a:t>Third level</a:t>
            </a:r>
          </a:p>
          <a:p>
            <a:pPr marL="446103" marR="0" lvl="3" indent="-446103" algn="l" defTabSz="914478" rtl="0" eaLnBrk="1" fontAlgn="auto" latinLnBrk="0" hangingPunct="1">
              <a:lnSpc>
                <a:spcPct val="100000"/>
              </a:lnSpc>
              <a:spcBef>
                <a:spcPts val="115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/>
              <a:t>Fourth level</a:t>
            </a:r>
          </a:p>
          <a:p>
            <a:pPr marL="446103" marR="0" lvl="4" indent="-446103" algn="l" defTabSz="914478" rtl="0" eaLnBrk="1" fontAlgn="auto" latinLnBrk="0" hangingPunct="1">
              <a:lnSpc>
                <a:spcPct val="100000"/>
              </a:lnSpc>
              <a:spcBef>
                <a:spcPts val="115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/>
              <a:t>Fifth level</a:t>
            </a:r>
            <a:endParaRPr lang="en-US" dirty="0"/>
          </a:p>
        </p:txBody>
      </p:sp>
      <p:pic>
        <p:nvPicPr>
          <p:cNvPr id="8" name="Imagem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08634" y="11209"/>
            <a:ext cx="2520280" cy="141758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63201" y="1339109"/>
            <a:ext cx="17058187" cy="914609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>
              <a:defRPr sz="5937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5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1663201" y="9921875"/>
            <a:ext cx="17058187" cy="381000"/>
          </a:xfrm>
        </p:spPr>
        <p:txBody>
          <a:bodyPr>
            <a:normAutofit/>
          </a:bodyPr>
          <a:lstStyle>
            <a:lvl1pPr marL="20943" indent="0">
              <a:buNone/>
              <a:defRPr sz="1600" i="1"/>
            </a:lvl1pPr>
            <a:lvl5pPr algn="l">
              <a:defRPr/>
            </a:lvl5pPr>
          </a:lstStyle>
          <a:p>
            <a:pPr lvl="0"/>
            <a:r>
              <a:rPr lang="en-US" dirty="0"/>
              <a:t>Data Credit</a:t>
            </a:r>
          </a:p>
        </p:txBody>
      </p:sp>
      <p:sp>
        <p:nvSpPr>
          <p:cNvPr id="11" name="Chart Placeholder 10"/>
          <p:cNvSpPr>
            <a:spLocks noGrp="1"/>
          </p:cNvSpPr>
          <p:nvPr>
            <p:ph type="chart" sz="quarter" idx="12"/>
          </p:nvPr>
        </p:nvSpPr>
        <p:spPr>
          <a:xfrm>
            <a:off x="10261388" y="2732402"/>
            <a:ext cx="8460000" cy="549061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half" idx="2"/>
          </p:nvPr>
        </p:nvSpPr>
        <p:spPr>
          <a:xfrm>
            <a:off x="1663200" y="2732401"/>
            <a:ext cx="8460858" cy="1808380"/>
          </a:xfrm>
        </p:spPr>
        <p:txBody>
          <a:bodyPr/>
          <a:lstStyle>
            <a:lvl1pPr marL="457216" indent="-457216">
              <a:defRPr lang="en-US" sz="2968" kern="1200" baseline="0" dirty="0" smtClean="0">
                <a:solidFill>
                  <a:srgbClr val="485865"/>
                </a:solidFill>
                <a:latin typeface="Trebuchet MS" charset="0"/>
                <a:ea typeface="Trebuchet MS" charset="0"/>
                <a:cs typeface="Trebuchet MS" charset="0"/>
              </a:defRPr>
            </a:lvl1pPr>
            <a:lvl2pPr marL="685859" indent="-228620">
              <a:buFont typeface=".AppleSystemUIFont" charset="-120"/>
              <a:buChar char="-"/>
              <a:defRPr b="0" i="0" baseline="0">
                <a:solidFill>
                  <a:schemeClr val="accent1"/>
                </a:solidFill>
              </a:defRPr>
            </a:lvl2pPr>
            <a:lvl3pPr marL="1143098" indent="-228620">
              <a:buFont typeface=".AppleSystemUIFont" charset="-120"/>
              <a:buChar char="-"/>
              <a:defRPr/>
            </a:lvl3pPr>
            <a:lvl4pPr marL="1600339" indent="-228620">
              <a:buFont typeface=".AppleSystemUIFont" charset="-120"/>
              <a:buChar char="-"/>
              <a:defRPr/>
            </a:lvl4pPr>
          </a:lstStyle>
          <a:p>
            <a:pPr marL="446103" marR="0" lvl="0" indent="-446103" algn="l" defTabSz="914478" rtl="0" eaLnBrk="1" fontAlgn="auto" latinLnBrk="0" hangingPunct="1">
              <a:lnSpc>
                <a:spcPct val="100000"/>
              </a:lnSpc>
              <a:spcBef>
                <a:spcPts val="115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marL="446103" marR="0" lvl="1" indent="-446103" algn="l" defTabSz="914478" rtl="0" eaLnBrk="1" fontAlgn="auto" latinLnBrk="0" hangingPunct="1">
              <a:lnSpc>
                <a:spcPct val="100000"/>
              </a:lnSpc>
              <a:spcBef>
                <a:spcPts val="115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/>
              <a:t>Second level</a:t>
            </a:r>
          </a:p>
          <a:p>
            <a:pPr marL="446103" marR="0" lvl="2" indent="-446103" algn="l" defTabSz="914478" rtl="0" eaLnBrk="1" fontAlgn="auto" latinLnBrk="0" hangingPunct="1">
              <a:lnSpc>
                <a:spcPct val="100000"/>
              </a:lnSpc>
              <a:spcBef>
                <a:spcPts val="115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/>
              <a:t>Third level</a:t>
            </a:r>
          </a:p>
          <a:p>
            <a:pPr marL="446103" marR="0" lvl="3" indent="-446103" algn="l" defTabSz="914478" rtl="0" eaLnBrk="1" fontAlgn="auto" latinLnBrk="0" hangingPunct="1">
              <a:lnSpc>
                <a:spcPct val="100000"/>
              </a:lnSpc>
              <a:spcBef>
                <a:spcPts val="115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/>
              <a:t>Fourth level</a:t>
            </a:r>
          </a:p>
          <a:p>
            <a:pPr marL="446103" marR="0" lvl="4" indent="-446103" algn="l" defTabSz="914478" rtl="0" eaLnBrk="1" fontAlgn="auto" latinLnBrk="0" hangingPunct="1">
              <a:lnSpc>
                <a:spcPct val="100000"/>
              </a:lnSpc>
              <a:spcBef>
                <a:spcPts val="115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Imagem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08634" y="11209"/>
            <a:ext cx="2520280" cy="141758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63201" y="1339109"/>
            <a:ext cx="17058187" cy="914609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>
              <a:defRPr sz="5937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5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1663201" y="9921875"/>
            <a:ext cx="17058187" cy="381000"/>
          </a:xfrm>
        </p:spPr>
        <p:txBody>
          <a:bodyPr>
            <a:normAutofit/>
          </a:bodyPr>
          <a:lstStyle>
            <a:lvl1pPr marL="20943" indent="0">
              <a:buNone/>
              <a:defRPr sz="1600" i="1"/>
            </a:lvl1pPr>
            <a:lvl5pPr algn="l">
              <a:defRPr/>
            </a:lvl5pPr>
          </a:lstStyle>
          <a:p>
            <a:pPr lvl="0"/>
            <a:r>
              <a:rPr lang="en-US" dirty="0"/>
              <a:t>Data Credit</a:t>
            </a:r>
          </a:p>
        </p:txBody>
      </p:sp>
      <p:sp>
        <p:nvSpPr>
          <p:cNvPr id="13" name="Table Placeholder 12"/>
          <p:cNvSpPr>
            <a:spLocks noGrp="1"/>
          </p:cNvSpPr>
          <p:nvPr>
            <p:ph type="tbl" sz="quarter" idx="12"/>
          </p:nvPr>
        </p:nvSpPr>
        <p:spPr>
          <a:xfrm>
            <a:off x="10260001" y="2732402"/>
            <a:ext cx="8485200" cy="549061"/>
          </a:xfrm>
        </p:spPr>
        <p:txBody>
          <a:bodyPr/>
          <a:lstStyle/>
          <a:p>
            <a:r>
              <a:rPr lang="en-US" dirty="0"/>
              <a:t>Click icon to add table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half" idx="2"/>
          </p:nvPr>
        </p:nvSpPr>
        <p:spPr>
          <a:xfrm>
            <a:off x="1663200" y="2732401"/>
            <a:ext cx="8460858" cy="1892762"/>
          </a:xfrm>
        </p:spPr>
        <p:txBody>
          <a:bodyPr/>
          <a:lstStyle>
            <a:lvl1pPr>
              <a:defRPr lang="en-US" sz="2968" kern="1200" baseline="0" dirty="0" smtClean="0">
                <a:solidFill>
                  <a:srgbClr val="485865"/>
                </a:solidFill>
                <a:latin typeface="Trebuchet MS" charset="0"/>
                <a:ea typeface="Trebuchet MS" charset="0"/>
                <a:cs typeface="Trebuchet MS" charset="0"/>
              </a:defRPr>
            </a:lvl1pPr>
            <a:lvl2pPr marL="685859" indent="-228620">
              <a:buFont typeface=".AppleSystemUIFont" charset="-120"/>
              <a:buChar char="-"/>
              <a:defRPr b="0" i="0" baseline="0">
                <a:solidFill>
                  <a:schemeClr val="accent1"/>
                </a:solidFill>
              </a:defRPr>
            </a:lvl2pPr>
            <a:lvl3pPr marL="1143098" indent="-228620">
              <a:buFont typeface=".AppleSystemUIFont" charset="-120"/>
              <a:buChar char="-"/>
              <a:defRPr/>
            </a:lvl3pPr>
            <a:lvl4pPr marL="1600339" indent="-228620">
              <a:buFont typeface=".AppleSystemUIFont" charset="-120"/>
              <a:buChar char="-"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Imagem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08634" y="11209"/>
            <a:ext cx="2520280" cy="1417586"/>
          </a:xfrm>
          <a:prstGeom prst="rect">
            <a:avLst/>
          </a:prstGeom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63200" y="3015829"/>
            <a:ext cx="17339786" cy="189276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marL="446103" marR="0" lvl="0" indent="-446103" algn="l" defTabSz="914478" rtl="0" eaLnBrk="1" fontAlgn="auto" latinLnBrk="0" hangingPunct="1">
              <a:lnSpc>
                <a:spcPct val="100000"/>
              </a:lnSpc>
              <a:spcBef>
                <a:spcPts val="115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/>
              <a:t>Body text</a:t>
            </a:r>
          </a:p>
          <a:p>
            <a:pPr marL="685859" lvl="1" indent="-228620" algn="l" defTabSz="914478" rtl="0" eaLnBrk="1" latinLnBrk="0" hangingPunct="1">
              <a:lnSpc>
                <a:spcPct val="90000"/>
              </a:lnSpc>
              <a:spcBef>
                <a:spcPts val="500"/>
              </a:spcBef>
              <a:buFont typeface=".AppleSystemUIFont" charset="-120"/>
              <a:buChar char="-"/>
            </a:pPr>
            <a:r>
              <a:rPr lang="en-US" dirty="0"/>
              <a:t>Second level</a:t>
            </a:r>
          </a:p>
          <a:p>
            <a:pPr marL="1143098" lvl="2" indent="-228620" algn="l" defTabSz="914478" rtl="0" eaLnBrk="1" latinLnBrk="0" hangingPunct="1">
              <a:lnSpc>
                <a:spcPct val="90000"/>
              </a:lnSpc>
              <a:spcBef>
                <a:spcPts val="500"/>
              </a:spcBef>
              <a:buFont typeface=".AppleSystemUIFont" charset="-120"/>
              <a:buChar char="-"/>
            </a:pPr>
            <a:r>
              <a:rPr lang="en-US" dirty="0"/>
              <a:t>Third level</a:t>
            </a:r>
          </a:p>
          <a:p>
            <a:pPr marL="1600339" lvl="3" indent="-228620" algn="l" defTabSz="914478" rtl="0" eaLnBrk="1" latinLnBrk="0" hangingPunct="1">
              <a:lnSpc>
                <a:spcPct val="90000"/>
              </a:lnSpc>
              <a:spcBef>
                <a:spcPts val="500"/>
              </a:spcBef>
              <a:buFont typeface=".AppleSystemUIFont" charset="-120"/>
              <a:buChar char="-"/>
            </a:pPr>
            <a:r>
              <a:rPr lang="en-US" dirty="0"/>
              <a:t>Fourth level</a:t>
            </a:r>
          </a:p>
          <a:p>
            <a:pPr marL="1828958" lvl="4" indent="0" algn="l" defTabSz="914478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</a:pPr>
            <a:r>
              <a:rPr lang="en-US" dirty="0"/>
              <a:t>Fifth level</a:t>
            </a:r>
          </a:p>
        </p:txBody>
      </p:sp>
      <p:sp>
        <p:nvSpPr>
          <p:cNvPr id="17" name="Title Placeholder 16"/>
          <p:cNvSpPr>
            <a:spLocks noGrp="1"/>
          </p:cNvSpPr>
          <p:nvPr>
            <p:ph type="title"/>
          </p:nvPr>
        </p:nvSpPr>
        <p:spPr>
          <a:xfrm>
            <a:off x="1663199" y="1339109"/>
            <a:ext cx="15445635" cy="914609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6659567" y="10482263"/>
            <a:ext cx="6784975" cy="6016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5</a:t>
            </a:r>
          </a:p>
        </p:txBody>
      </p:sp>
      <p:pic>
        <p:nvPicPr>
          <p:cNvPr id="16" name="Picture 4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7612054" y="432000"/>
            <a:ext cx="1796471" cy="8212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142828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9" r:id="rId2"/>
    <p:sldLayoutId id="2147483708" r:id="rId3"/>
    <p:sldLayoutId id="2147483699" r:id="rId4"/>
    <p:sldLayoutId id="2147483700" r:id="rId5"/>
    <p:sldLayoutId id="2147483670" r:id="rId6"/>
    <p:sldLayoutId id="2147483672" r:id="rId7"/>
    <p:sldLayoutId id="2147483697" r:id="rId8"/>
    <p:sldLayoutId id="2147483698" r:id="rId9"/>
    <p:sldLayoutId id="2147483703" r:id="rId10"/>
    <p:sldLayoutId id="2147483673" r:id="rId11"/>
    <p:sldLayoutId id="2147483687" r:id="rId12"/>
    <p:sldLayoutId id="2147483696" r:id="rId13"/>
    <p:sldLayoutId id="2147483709" r:id="rId14"/>
    <p:sldLayoutId id="2147483701" r:id="rId15"/>
    <p:sldLayoutId id="2147483702" r:id="rId16"/>
    <p:sldLayoutId id="2147483705" r:id="rId17"/>
    <p:sldLayoutId id="2147483711" r:id="rId18"/>
  </p:sldLayoutIdLst>
  <p:hf sldNum="0" hdr="0" ftr="0" dt="0"/>
  <p:txStyles>
    <p:titleStyle>
      <a:lvl1pPr algn="l" defTabSz="914478" rtl="0" eaLnBrk="1" latinLnBrk="0" hangingPunct="1">
        <a:lnSpc>
          <a:spcPct val="90000"/>
        </a:lnSpc>
        <a:spcBef>
          <a:spcPct val="0"/>
        </a:spcBef>
        <a:buNone/>
        <a:defRPr sz="5937" kern="1200" baseline="0">
          <a:solidFill>
            <a:srgbClr val="006067"/>
          </a:solidFill>
          <a:latin typeface="Agenda Medium" charset="0"/>
          <a:ea typeface="Agenda Medium" charset="0"/>
          <a:cs typeface="Agenda Medium" charset="0"/>
        </a:defRPr>
      </a:lvl1pPr>
    </p:titleStyle>
    <p:bodyStyle>
      <a:lvl1pPr marL="457216" marR="0" indent="-457216" algn="l" defTabSz="914478" rtl="0" eaLnBrk="1" fontAlgn="auto" latinLnBrk="0" hangingPunct="1">
        <a:lnSpc>
          <a:spcPct val="100000"/>
        </a:lnSpc>
        <a:spcBef>
          <a:spcPts val="1000"/>
        </a:spcBef>
        <a:spcAft>
          <a:spcPts val="0"/>
        </a:spcAft>
        <a:buClr>
          <a:srgbClr val="E5B611"/>
        </a:buClr>
        <a:buSzPct val="180000"/>
        <a:buFont typeface=".AppleSystemUIFont" charset="-120"/>
        <a:buChar char="•"/>
        <a:tabLst>
          <a:tab pos="431180" algn="l"/>
          <a:tab pos="431814" algn="l"/>
        </a:tabLst>
        <a:defRPr lang="en-US" sz="2968" kern="1200" baseline="0" dirty="0" smtClean="0">
          <a:solidFill>
            <a:srgbClr val="485865"/>
          </a:solidFill>
          <a:latin typeface="Trebuchet MS" charset="0"/>
          <a:ea typeface="Trebuchet MS" charset="0"/>
          <a:cs typeface="Trebuchet MS" charset="0"/>
        </a:defRPr>
      </a:lvl1pPr>
      <a:lvl2pPr marL="685859" indent="-228620" algn="l" defTabSz="914478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lang="en-US" sz="2400" b="0" i="0" kern="1200" baseline="0" dirty="0" smtClean="0">
          <a:solidFill>
            <a:schemeClr val="accent1"/>
          </a:solidFill>
          <a:latin typeface="Trebuchet MS" charset="0"/>
          <a:ea typeface="Trebuchet MS" charset="0"/>
          <a:cs typeface="Trebuchet MS" charset="0"/>
        </a:defRPr>
      </a:lvl2pPr>
      <a:lvl3pPr marL="1143098" indent="-228620" algn="l" defTabSz="914478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lang="en-US" sz="2000" b="0" i="1" kern="1200" baseline="0" dirty="0" smtClean="0">
          <a:solidFill>
            <a:srgbClr val="485865"/>
          </a:solidFill>
          <a:latin typeface="Trebuchet MS" charset="0"/>
          <a:ea typeface="Trebuchet MS" charset="0"/>
          <a:cs typeface="Trebuchet MS" charset="0"/>
        </a:defRPr>
      </a:lvl3pPr>
      <a:lvl4pPr marL="1600339" indent="-228620" algn="l" defTabSz="914478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lang="en-US" sz="1801" kern="1200" dirty="0" smtClean="0">
          <a:solidFill>
            <a:srgbClr val="485865"/>
          </a:solidFill>
          <a:latin typeface="Trebuchet MS" charset="0"/>
          <a:ea typeface="Trebuchet MS" charset="0"/>
          <a:cs typeface="Trebuchet MS" charset="0"/>
        </a:defRPr>
      </a:lvl4pPr>
      <a:lvl5pPr marL="1828958" indent="0" algn="l" defTabSz="914478" rtl="0" eaLnBrk="1" latinLnBrk="0" hangingPunct="1">
        <a:lnSpc>
          <a:spcPct val="90000"/>
        </a:lnSpc>
        <a:spcBef>
          <a:spcPts val="500"/>
        </a:spcBef>
        <a:buFontTx/>
        <a:buNone/>
        <a:defRPr lang="en-US" sz="1649" b="0" i="1" kern="1200" baseline="0" dirty="0">
          <a:solidFill>
            <a:srgbClr val="485865"/>
          </a:solidFill>
          <a:latin typeface="Trebuchet MS" charset="0"/>
          <a:ea typeface="Trebuchet MS" charset="0"/>
          <a:cs typeface="Trebuchet MS" charset="0"/>
        </a:defRPr>
      </a:lvl5pPr>
      <a:lvl6pPr marL="2514819" indent="-228620" algn="l" defTabSz="914478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972059" indent="-228620" algn="l" defTabSz="914478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429300" indent="-228620" algn="l" defTabSz="914478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886538" indent="-228620" algn="l" defTabSz="914478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7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240" algn="l" defTabSz="91447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478" algn="l" defTabSz="91447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719" algn="l" defTabSz="91447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958" algn="l" defTabSz="91447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6198" algn="l" defTabSz="91447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3439" algn="l" defTabSz="91447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679" algn="l" defTabSz="91447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920" algn="l" defTabSz="91447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0.jpeg"/><Relationship Id="rId5" Type="http://schemas.openxmlformats.org/officeDocument/2006/relationships/image" Target="../media/image9.png"/><Relationship Id="rId4" Type="http://schemas.openxmlformats.org/officeDocument/2006/relationships/image" Target="../media/image8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5.emf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oleObject" Target="../embeddings/oleObject10.bin"/><Relationship Id="rId5" Type="http://schemas.openxmlformats.org/officeDocument/2006/relationships/image" Target="../media/image17.png"/><Relationship Id="rId4" Type="http://schemas.openxmlformats.org/officeDocument/2006/relationships/notesSlide" Target="../notesSlides/notesSlide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14.png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1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5.emf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oleObject" Target="../embeddings/oleObject12.bin"/><Relationship Id="rId5" Type="http://schemas.openxmlformats.org/officeDocument/2006/relationships/image" Target="../media/image18.png"/><Relationship Id="rId4" Type="http://schemas.openxmlformats.org/officeDocument/2006/relationships/notesSlide" Target="../notesSlides/notesSlide1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5.emf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oleObject" Target="../embeddings/oleObject13.bin"/><Relationship Id="rId5" Type="http://schemas.openxmlformats.org/officeDocument/2006/relationships/image" Target="../media/image19.png"/><Relationship Id="rId4" Type="http://schemas.openxmlformats.org/officeDocument/2006/relationships/notesSlide" Target="../notesSlides/notesSlide1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5.emf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oleObject" Target="../embeddings/oleObject14.bin"/><Relationship Id="rId5" Type="http://schemas.openxmlformats.org/officeDocument/2006/relationships/image" Target="../media/image20.png"/><Relationship Id="rId4" Type="http://schemas.openxmlformats.org/officeDocument/2006/relationships/notesSlide" Target="../notesSlides/notesSlide1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5.emf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oleObject" Target="../embeddings/oleObject15.bin"/><Relationship Id="rId5" Type="http://schemas.openxmlformats.org/officeDocument/2006/relationships/image" Target="../media/image21.png"/><Relationship Id="rId4" Type="http://schemas.openxmlformats.org/officeDocument/2006/relationships/notesSlide" Target="../notesSlides/notesSlide1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5.emf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oleObject" Target="../embeddings/oleObject16.bin"/><Relationship Id="rId5" Type="http://schemas.openxmlformats.org/officeDocument/2006/relationships/image" Target="../media/image22.png"/><Relationship Id="rId4" Type="http://schemas.openxmlformats.org/officeDocument/2006/relationships/notesSlide" Target="../notesSlides/notesSlide1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23.png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16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5.emf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oleObject" Target="../embeddings/oleObject18.bin"/><Relationship Id="rId5" Type="http://schemas.openxmlformats.org/officeDocument/2006/relationships/image" Target="../media/image14.png"/><Relationship Id="rId4" Type="http://schemas.openxmlformats.org/officeDocument/2006/relationships/notesSlide" Target="../notesSlides/notesSlide17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25.png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9.bin"/><Relationship Id="rId4" Type="http://schemas.openxmlformats.org/officeDocument/2006/relationships/notesSlide" Target="../notesSlides/notesSlide1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11.pn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5.emf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12.png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5.emf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13.png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14.png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5.emf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oleObject" Target="../embeddings/oleObject7.bin"/><Relationship Id="rId5" Type="http://schemas.openxmlformats.org/officeDocument/2006/relationships/image" Target="../media/image15.png"/><Relationship Id="rId4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14.png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16.pn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Resultado de imagem para formula e photos">
            <a:extLst>
              <a:ext uri="{FF2B5EF4-FFF2-40B4-BE49-F238E27FC236}">
                <a16:creationId xmlns:a16="http://schemas.microsoft.com/office/drawing/2014/main" id="{25BC0EEE-6C1C-4C43-A88A-B90CE9EB0AE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892" t="249"/>
          <a:stretch/>
        </p:blipFill>
        <p:spPr bwMode="auto">
          <a:xfrm>
            <a:off x="7547004" y="4874553"/>
            <a:ext cx="10700122" cy="64467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Imagem 3">
            <a:extLst>
              <a:ext uri="{FF2B5EF4-FFF2-40B4-BE49-F238E27FC236}">
                <a16:creationId xmlns:a16="http://schemas.microsoft.com/office/drawing/2014/main" id="{387FAB56-04B6-40CD-83BA-823E618C72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47003" y="5258"/>
            <a:ext cx="6756911" cy="4899321"/>
          </a:xfrm>
          <a:prstGeom prst="rect">
            <a:avLst/>
          </a:prstGeom>
        </p:spPr>
      </p:pic>
      <p:pic>
        <p:nvPicPr>
          <p:cNvPr id="5" name="Picture 8" descr="Imagem relacionada">
            <a:extLst>
              <a:ext uri="{FF2B5EF4-FFF2-40B4-BE49-F238E27FC236}">
                <a16:creationId xmlns:a16="http://schemas.microsoft.com/office/drawing/2014/main" id="{B02FC5E7-08D4-4A86-A032-F4B7178CFE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00522" y="-20213"/>
            <a:ext cx="5803578" cy="48947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" name="Agrupar 5">
            <a:extLst>
              <a:ext uri="{FF2B5EF4-FFF2-40B4-BE49-F238E27FC236}">
                <a16:creationId xmlns:a16="http://schemas.microsoft.com/office/drawing/2014/main" id="{F77AFC2B-A462-4823-AC62-AB1E6496C07E}"/>
              </a:ext>
            </a:extLst>
          </p:cNvPr>
          <p:cNvGrpSpPr/>
          <p:nvPr/>
        </p:nvGrpSpPr>
        <p:grpSpPr>
          <a:xfrm>
            <a:off x="17252850" y="8380915"/>
            <a:ext cx="2899670" cy="2974253"/>
            <a:chOff x="16402958" y="4719320"/>
            <a:chExt cx="3730965" cy="3504625"/>
          </a:xfrm>
        </p:grpSpPr>
        <p:pic>
          <p:nvPicPr>
            <p:cNvPr id="7" name="Imagem 6">
              <a:extLst>
                <a:ext uri="{FF2B5EF4-FFF2-40B4-BE49-F238E27FC236}">
                  <a16:creationId xmlns:a16="http://schemas.microsoft.com/office/drawing/2014/main" id="{00B019B4-C661-462B-ADC2-146E4B34E60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6402958" y="4719320"/>
              <a:ext cx="3730965" cy="3504625"/>
            </a:xfrm>
            <a:prstGeom prst="rect">
              <a:avLst/>
            </a:prstGeom>
          </p:spPr>
        </p:pic>
        <p:sp>
          <p:nvSpPr>
            <p:cNvPr id="8" name="Retângulo 7">
              <a:extLst>
                <a:ext uri="{FF2B5EF4-FFF2-40B4-BE49-F238E27FC236}">
                  <a16:creationId xmlns:a16="http://schemas.microsoft.com/office/drawing/2014/main" id="{03E4D4FC-E7E9-4303-B99A-E9D0AF633AC9}"/>
                </a:ext>
              </a:extLst>
            </p:cNvPr>
            <p:cNvSpPr/>
            <p:nvPr/>
          </p:nvSpPr>
          <p:spPr>
            <a:xfrm rot="1519631">
              <a:off x="17236257" y="5453764"/>
              <a:ext cx="812819" cy="163287"/>
            </a:xfrm>
            <a:prstGeom prst="rect">
              <a:avLst/>
            </a:prstGeom>
            <a:solidFill>
              <a:srgbClr val="F2B0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pic>
        <p:nvPicPr>
          <p:cNvPr id="9" name="Picture 11" descr="Resultado de imagem para castelão estadio">
            <a:extLst>
              <a:ext uri="{FF2B5EF4-FFF2-40B4-BE49-F238E27FC236}">
                <a16:creationId xmlns:a16="http://schemas.microsoft.com/office/drawing/2014/main" id="{7D6ABE32-9E75-416F-B4B8-2E312AB83BB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96" r="18230" b="8476"/>
          <a:stretch/>
        </p:blipFill>
        <p:spPr bwMode="auto">
          <a:xfrm>
            <a:off x="17227401" y="4874553"/>
            <a:ext cx="2876699" cy="34725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tângulo 9">
            <a:extLst>
              <a:ext uri="{FF2B5EF4-FFF2-40B4-BE49-F238E27FC236}">
                <a16:creationId xmlns:a16="http://schemas.microsoft.com/office/drawing/2014/main" id="{B8A5F2CF-2416-45A3-A983-F1839622AD7F}"/>
              </a:ext>
            </a:extLst>
          </p:cNvPr>
          <p:cNvSpPr/>
          <p:nvPr/>
        </p:nvSpPr>
        <p:spPr>
          <a:xfrm>
            <a:off x="7547003" y="-20213"/>
            <a:ext cx="12603352" cy="11375381"/>
          </a:xfrm>
          <a:prstGeom prst="rect">
            <a:avLst/>
          </a:prstGeom>
          <a:solidFill>
            <a:schemeClr val="bg2">
              <a:lumMod val="10000"/>
              <a:alpha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23858" y="4696329"/>
            <a:ext cx="10700122" cy="1754326"/>
          </a:xfrm>
        </p:spPr>
        <p:txBody>
          <a:bodyPr/>
          <a:lstStyle/>
          <a:p>
            <a:r>
              <a:rPr lang="en-GB" sz="6000" b="1" dirty="0" err="1"/>
              <a:t>Instalação</a:t>
            </a:r>
            <a:r>
              <a:rPr lang="en-GB" sz="6000" b="1" dirty="0"/>
              <a:t> da Barra de </a:t>
            </a:r>
            <a:r>
              <a:rPr lang="en-GB" sz="6000" b="1" dirty="0" err="1"/>
              <a:t>Ferramentas</a:t>
            </a:r>
            <a:r>
              <a:rPr lang="en-GB" sz="6000" b="1" dirty="0"/>
              <a:t> GSTI</a:t>
            </a:r>
          </a:p>
        </p:txBody>
      </p:sp>
    </p:spTree>
    <p:extLst>
      <p:ext uri="{BB962C8B-B14F-4D97-AF65-F5344CB8AC3E}">
        <p14:creationId xmlns:p14="http://schemas.microsoft.com/office/powerpoint/2010/main" val="311228724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036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51650" y="4194541"/>
            <a:ext cx="9501353" cy="6572701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graphicFrame>
        <p:nvGraphicFramePr>
          <p:cNvPr id="51" name="Objeto 50" hidden="1">
            <a:extLst>
              <a:ext uri="{FF2B5EF4-FFF2-40B4-BE49-F238E27FC236}">
                <a16:creationId xmlns:a16="http://schemas.microsoft.com/office/drawing/2014/main" id="{7E65BC4C-0858-4F13-A045-BAC5EB65DAD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6" imgW="317" imgH="318" progId="TCLayout.ActiveDocument.1">
                  <p:embed/>
                </p:oleObj>
              </mc:Choice>
              <mc:Fallback>
                <p:oleObj name="Slide do think-cell" r:id="rId6" imgW="317" imgH="318" progId="TCLayout.ActiveDocument.1">
                  <p:embed/>
                  <p:pic>
                    <p:nvPicPr>
                      <p:cNvPr id="51" name="Objeto 50" hidden="1">
                        <a:extLst>
                          <a:ext uri="{FF2B5EF4-FFF2-40B4-BE49-F238E27FC236}">
                            <a16:creationId xmlns:a16="http://schemas.microsoft.com/office/drawing/2014/main" id="{7E65BC4C-0858-4F13-A045-BAC5EB65DA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Retângulo 49" hidden="1">
            <a:extLst>
              <a:ext uri="{FF2B5EF4-FFF2-40B4-BE49-F238E27FC236}">
                <a16:creationId xmlns:a16="http://schemas.microsoft.com/office/drawing/2014/main" id="{B6FD34B5-13C2-49BE-8AF2-FCDC4689AF2B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000">
              <a:latin typeface="Calibri" panose="020F0502020204030204" pitchFamily="34" charset="0"/>
              <a:sym typeface="+mn-lt"/>
            </a:endParaRPr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9CB7E9B1-69E0-4E6D-BF67-AE78100CC5D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9485098" y="10669637"/>
            <a:ext cx="720080" cy="601662"/>
          </a:xfrm>
        </p:spPr>
        <p:txBody>
          <a:bodyPr/>
          <a:lstStyle/>
          <a:p>
            <a:fld id="{BE418F81-F092-F643-8EAE-268022441A30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9" name="Título 1"/>
          <p:cNvSpPr>
            <a:spLocks noGrp="1"/>
          </p:cNvSpPr>
          <p:nvPr>
            <p:ph type="title"/>
          </p:nvPr>
        </p:nvSpPr>
        <p:spPr>
          <a:xfrm>
            <a:off x="546994" y="758131"/>
            <a:ext cx="17058188" cy="840230"/>
          </a:xfrm>
        </p:spPr>
        <p:txBody>
          <a:bodyPr/>
          <a:lstStyle/>
          <a:p>
            <a:r>
              <a:rPr lang="en-US" sz="5400" dirty="0" err="1">
                <a:solidFill>
                  <a:schemeClr val="accent5">
                    <a:lumMod val="50000"/>
                  </a:schemeClr>
                </a:solidFill>
              </a:rPr>
              <a:t>Instalação</a:t>
            </a:r>
            <a:r>
              <a:rPr lang="en-US" sz="5400" dirty="0">
                <a:solidFill>
                  <a:schemeClr val="accent5">
                    <a:lumMod val="50000"/>
                  </a:schemeClr>
                </a:solidFill>
              </a:rPr>
              <a:t> da Barra de </a:t>
            </a:r>
            <a:r>
              <a:rPr lang="en-US" sz="5400" dirty="0" err="1">
                <a:solidFill>
                  <a:schemeClr val="accent5">
                    <a:lumMod val="50000"/>
                  </a:schemeClr>
                </a:solidFill>
              </a:rPr>
              <a:t>Ferramentas</a:t>
            </a:r>
            <a:r>
              <a:rPr lang="en-US" sz="5400" dirty="0">
                <a:solidFill>
                  <a:schemeClr val="accent5">
                    <a:lumMod val="50000"/>
                  </a:schemeClr>
                </a:solidFill>
              </a:rPr>
              <a:t> do GSTI </a:t>
            </a:r>
          </a:p>
        </p:txBody>
      </p:sp>
      <p:grpSp>
        <p:nvGrpSpPr>
          <p:cNvPr id="12" name="Grupo 11"/>
          <p:cNvGrpSpPr/>
          <p:nvPr/>
        </p:nvGrpSpPr>
        <p:grpSpPr>
          <a:xfrm>
            <a:off x="2635225" y="2054275"/>
            <a:ext cx="13321480" cy="1728192"/>
            <a:chOff x="2507233" y="5222627"/>
            <a:chExt cx="13399460" cy="1276139"/>
          </a:xfrm>
        </p:grpSpPr>
        <p:grpSp>
          <p:nvGrpSpPr>
            <p:cNvPr id="60" name="Grupo 59"/>
            <p:cNvGrpSpPr/>
            <p:nvPr/>
          </p:nvGrpSpPr>
          <p:grpSpPr>
            <a:xfrm>
              <a:off x="2507233" y="5222627"/>
              <a:ext cx="3190347" cy="1276139"/>
              <a:chOff x="1636" y="3829508"/>
              <a:chExt cx="3190347" cy="1276139"/>
            </a:xfrm>
          </p:grpSpPr>
          <p:sp>
            <p:nvSpPr>
              <p:cNvPr id="73" name="Pentágono 72"/>
              <p:cNvSpPr/>
              <p:nvPr/>
            </p:nvSpPr>
            <p:spPr>
              <a:xfrm>
                <a:off x="1636" y="3829508"/>
                <a:ext cx="3190347" cy="1276139"/>
              </a:xfrm>
              <a:prstGeom prst="homePlate">
                <a:avLst/>
              </a:prstGeom>
              <a:solidFill>
                <a:schemeClr val="bg1">
                  <a:lumMod val="65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74" name="Pentágono 4"/>
              <p:cNvSpPr/>
              <p:nvPr/>
            </p:nvSpPr>
            <p:spPr>
              <a:xfrm>
                <a:off x="1636" y="3829508"/>
                <a:ext cx="2871312" cy="1276139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106680" tIns="53340" rIns="26670" bIns="53340" numCol="1" spcCol="1270" anchor="ctr" anchorCtr="0">
                <a:no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pt-BR" kern="1200" dirty="0"/>
                  <a:t>1. Exclusão de todas as personalizações</a:t>
                </a:r>
              </a:p>
            </p:txBody>
          </p:sp>
        </p:grpSp>
        <p:grpSp>
          <p:nvGrpSpPr>
            <p:cNvPr id="61" name="Grupo 60"/>
            <p:cNvGrpSpPr/>
            <p:nvPr/>
          </p:nvGrpSpPr>
          <p:grpSpPr>
            <a:xfrm>
              <a:off x="5059511" y="5222627"/>
              <a:ext cx="3190347" cy="1276139"/>
              <a:chOff x="2553914" y="3829508"/>
              <a:chExt cx="3190347" cy="1276139"/>
            </a:xfrm>
          </p:grpSpPr>
          <p:sp>
            <p:nvSpPr>
              <p:cNvPr id="71" name="Divisa 70"/>
              <p:cNvSpPr/>
              <p:nvPr/>
            </p:nvSpPr>
            <p:spPr>
              <a:xfrm>
                <a:off x="2553914" y="3829508"/>
                <a:ext cx="3190347" cy="1276139"/>
              </a:xfrm>
              <a:prstGeom prst="chevron">
                <a:avLst/>
              </a:prstGeom>
              <a:solidFill>
                <a:schemeClr val="bg1">
                  <a:lumMod val="65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72" name="Divisa 6"/>
              <p:cNvSpPr/>
              <p:nvPr/>
            </p:nvSpPr>
            <p:spPr>
              <a:xfrm>
                <a:off x="3260965" y="3829508"/>
                <a:ext cx="1914208" cy="1276139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80010" tIns="53340" rIns="26670" bIns="53340" numCol="1" spcCol="1270" anchor="ctr" anchorCtr="0">
                <a:no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pt-BR" sz="2000" kern="1200" dirty="0"/>
                  <a:t>2. Exclusão dos módulos e formulários existentes </a:t>
                </a:r>
              </a:p>
            </p:txBody>
          </p:sp>
        </p:grpSp>
        <p:grpSp>
          <p:nvGrpSpPr>
            <p:cNvPr id="62" name="Grupo 61"/>
            <p:cNvGrpSpPr/>
            <p:nvPr/>
          </p:nvGrpSpPr>
          <p:grpSpPr>
            <a:xfrm>
              <a:off x="7611789" y="5222627"/>
              <a:ext cx="3190347" cy="1276139"/>
              <a:chOff x="5106192" y="3829508"/>
              <a:chExt cx="3190347" cy="1276139"/>
            </a:xfrm>
          </p:grpSpPr>
          <p:sp>
            <p:nvSpPr>
              <p:cNvPr id="69" name="Divisa 68"/>
              <p:cNvSpPr/>
              <p:nvPr/>
            </p:nvSpPr>
            <p:spPr>
              <a:xfrm>
                <a:off x="5106192" y="3829508"/>
                <a:ext cx="3190347" cy="1276139"/>
              </a:xfrm>
              <a:prstGeom prst="chevron">
                <a:avLst/>
              </a:prstGeom>
              <a:solidFill>
                <a:schemeClr val="accent1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70" name="Divisa 8"/>
              <p:cNvSpPr/>
              <p:nvPr/>
            </p:nvSpPr>
            <p:spPr>
              <a:xfrm>
                <a:off x="5744262" y="3829508"/>
                <a:ext cx="1914208" cy="1276139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80010" tIns="53340" rIns="26670" bIns="53340" numCol="1" spcCol="1270" anchor="ctr" anchorCtr="0">
                <a:no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pt-BR" sz="2400" kern="1200" dirty="0"/>
                  <a:t>3. Importação de novos módulos</a:t>
                </a:r>
              </a:p>
            </p:txBody>
          </p:sp>
        </p:grpSp>
        <p:grpSp>
          <p:nvGrpSpPr>
            <p:cNvPr id="63" name="Grupo 62"/>
            <p:cNvGrpSpPr/>
            <p:nvPr/>
          </p:nvGrpSpPr>
          <p:grpSpPr>
            <a:xfrm>
              <a:off x="10164067" y="5222627"/>
              <a:ext cx="3190347" cy="1276139"/>
              <a:chOff x="7658470" y="3829508"/>
              <a:chExt cx="3190347" cy="1276139"/>
            </a:xfrm>
          </p:grpSpPr>
          <p:sp>
            <p:nvSpPr>
              <p:cNvPr id="67" name="Divisa 66"/>
              <p:cNvSpPr/>
              <p:nvPr/>
            </p:nvSpPr>
            <p:spPr>
              <a:xfrm>
                <a:off x="7658470" y="3829508"/>
                <a:ext cx="3190347" cy="1276139"/>
              </a:xfrm>
              <a:prstGeom prst="chevron">
                <a:avLst/>
              </a:prstGeom>
              <a:solidFill>
                <a:schemeClr val="bg1">
                  <a:lumMod val="65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68" name="Divisa 10"/>
              <p:cNvSpPr/>
              <p:nvPr/>
            </p:nvSpPr>
            <p:spPr>
              <a:xfrm>
                <a:off x="8296540" y="3829508"/>
                <a:ext cx="1914208" cy="1276139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80010" tIns="53340" rIns="26670" bIns="53340" numCol="1" spcCol="1270" anchor="ctr" anchorCtr="0">
                <a:no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pt-BR" kern="1200" dirty="0"/>
                  <a:t>4. Importação da barra de ferramentas GSTI</a:t>
                </a:r>
              </a:p>
            </p:txBody>
          </p:sp>
        </p:grpSp>
        <p:grpSp>
          <p:nvGrpSpPr>
            <p:cNvPr id="64" name="Grupo 63"/>
            <p:cNvGrpSpPr/>
            <p:nvPr/>
          </p:nvGrpSpPr>
          <p:grpSpPr>
            <a:xfrm>
              <a:off x="12716346" y="5222627"/>
              <a:ext cx="3190347" cy="1276139"/>
              <a:chOff x="10210749" y="3829508"/>
              <a:chExt cx="3190347" cy="1276139"/>
            </a:xfrm>
          </p:grpSpPr>
          <p:sp>
            <p:nvSpPr>
              <p:cNvPr id="65" name="Divisa 64"/>
              <p:cNvSpPr/>
              <p:nvPr/>
            </p:nvSpPr>
            <p:spPr>
              <a:xfrm>
                <a:off x="10210749" y="3829508"/>
                <a:ext cx="3190347" cy="1276139"/>
              </a:xfrm>
              <a:prstGeom prst="chevron">
                <a:avLst/>
              </a:prstGeom>
              <a:solidFill>
                <a:schemeClr val="bg1">
                  <a:lumMod val="65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66" name="Divisa 12"/>
              <p:cNvSpPr/>
              <p:nvPr/>
            </p:nvSpPr>
            <p:spPr>
              <a:xfrm>
                <a:off x="11037625" y="3829508"/>
                <a:ext cx="1914208" cy="1276139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80010" tIns="53340" rIns="26670" bIns="53340" numCol="1" spcCol="1270" anchor="ctr" anchorCtr="0">
                <a:no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pt-BR" kern="1200" dirty="0"/>
                  <a:t>5. Marcar a </a:t>
                </a:r>
                <a:r>
                  <a:rPr lang="pt-BR" kern="1200" dirty="0" err="1"/>
                  <a:t>dll</a:t>
                </a:r>
                <a:r>
                  <a:rPr lang="pt-BR" kern="1200" dirty="0"/>
                  <a:t> do </a:t>
                </a:r>
                <a:r>
                  <a:rPr lang="pt-BR" kern="1200" dirty="0" err="1"/>
                  <a:t>excel</a:t>
                </a:r>
                <a:r>
                  <a:rPr lang="pt-BR" kern="1200" dirty="0"/>
                  <a:t>  dentro do Project</a:t>
                </a:r>
              </a:p>
            </p:txBody>
          </p:sp>
        </p:grpSp>
      </p:grpSp>
      <p:cxnSp>
        <p:nvCxnSpPr>
          <p:cNvPr id="35" name="Conector de seta reta 34"/>
          <p:cNvCxnSpPr>
            <a:stCxn id="36" idx="0"/>
            <a:endCxn id="31" idx="1"/>
          </p:cNvCxnSpPr>
          <p:nvPr/>
        </p:nvCxnSpPr>
        <p:spPr>
          <a:xfrm>
            <a:off x="14041926" y="7310858"/>
            <a:ext cx="114580" cy="1724954"/>
          </a:xfrm>
          <a:prstGeom prst="straightConnector1">
            <a:avLst/>
          </a:prstGeom>
          <a:ln w="57150">
            <a:solidFill>
              <a:srgbClr val="FF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6" name="Retângulo 35"/>
          <p:cNvSpPr/>
          <p:nvPr/>
        </p:nvSpPr>
        <p:spPr>
          <a:xfrm>
            <a:off x="13784136" y="7310858"/>
            <a:ext cx="515580" cy="743882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4000" dirty="0"/>
              <a:t>3</a:t>
            </a:r>
          </a:p>
        </p:txBody>
      </p:sp>
      <p:sp>
        <p:nvSpPr>
          <p:cNvPr id="31" name="Retângulo 30"/>
          <p:cNvSpPr/>
          <p:nvPr/>
        </p:nvSpPr>
        <p:spPr>
          <a:xfrm>
            <a:off x="14156506" y="8806404"/>
            <a:ext cx="1512168" cy="458815"/>
          </a:xfrm>
          <a:prstGeom prst="rect">
            <a:avLst/>
          </a:prstGeom>
          <a:noFill/>
          <a:ln w="38100">
            <a:solidFill>
              <a:srgbClr val="FF0000"/>
            </a:solidFill>
            <a:prstDash val="sys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cxnSp>
        <p:nvCxnSpPr>
          <p:cNvPr id="39" name="Conector de seta reta 38"/>
          <p:cNvCxnSpPr>
            <a:stCxn id="40" idx="1"/>
            <a:endCxn id="41" idx="0"/>
          </p:cNvCxnSpPr>
          <p:nvPr/>
        </p:nvCxnSpPr>
        <p:spPr>
          <a:xfrm flipH="1">
            <a:off x="9238223" y="6318551"/>
            <a:ext cx="1964103" cy="1170595"/>
          </a:xfrm>
          <a:prstGeom prst="straightConnector1">
            <a:avLst/>
          </a:prstGeom>
          <a:ln w="57150">
            <a:solidFill>
              <a:srgbClr val="FF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0" name="Retângulo 39"/>
          <p:cNvSpPr/>
          <p:nvPr/>
        </p:nvSpPr>
        <p:spPr>
          <a:xfrm>
            <a:off x="11202326" y="5946610"/>
            <a:ext cx="515580" cy="743882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4000" dirty="0"/>
              <a:t>2</a:t>
            </a:r>
          </a:p>
        </p:txBody>
      </p:sp>
      <p:sp>
        <p:nvSpPr>
          <p:cNvPr id="41" name="Retângulo 40"/>
          <p:cNvSpPr/>
          <p:nvPr/>
        </p:nvSpPr>
        <p:spPr>
          <a:xfrm>
            <a:off x="6758540" y="7489146"/>
            <a:ext cx="4959366" cy="1045849"/>
          </a:xfrm>
          <a:prstGeom prst="rect">
            <a:avLst/>
          </a:prstGeom>
          <a:noFill/>
          <a:ln w="38100">
            <a:solidFill>
              <a:srgbClr val="FF0000"/>
            </a:solidFill>
            <a:prstDash val="sys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cxnSp>
        <p:nvCxnSpPr>
          <p:cNvPr id="47" name="Conector de seta reta 46"/>
          <p:cNvCxnSpPr>
            <a:stCxn id="48" idx="1"/>
            <a:endCxn id="49" idx="3"/>
          </p:cNvCxnSpPr>
          <p:nvPr/>
        </p:nvCxnSpPr>
        <p:spPr>
          <a:xfrm flipH="1" flipV="1">
            <a:off x="12109357" y="5077079"/>
            <a:ext cx="491026" cy="869531"/>
          </a:xfrm>
          <a:prstGeom prst="straightConnector1">
            <a:avLst/>
          </a:prstGeom>
          <a:ln w="57150">
            <a:solidFill>
              <a:srgbClr val="FF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8" name="Retângulo 47"/>
          <p:cNvSpPr/>
          <p:nvPr/>
        </p:nvSpPr>
        <p:spPr>
          <a:xfrm>
            <a:off x="12600383" y="5574669"/>
            <a:ext cx="515580" cy="743882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4000" dirty="0"/>
              <a:t>1</a:t>
            </a:r>
          </a:p>
        </p:txBody>
      </p:sp>
      <p:sp>
        <p:nvSpPr>
          <p:cNvPr id="49" name="Retângulo 48"/>
          <p:cNvSpPr/>
          <p:nvPr/>
        </p:nvSpPr>
        <p:spPr>
          <a:xfrm>
            <a:off x="8132043" y="4790579"/>
            <a:ext cx="3977314" cy="572999"/>
          </a:xfrm>
          <a:prstGeom prst="rect">
            <a:avLst/>
          </a:prstGeom>
          <a:noFill/>
          <a:ln w="38100">
            <a:solidFill>
              <a:srgbClr val="FF0000"/>
            </a:solidFill>
            <a:prstDash val="sys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52" name="Retângulo de cantos arredondados 51"/>
          <p:cNvSpPr/>
          <p:nvPr/>
        </p:nvSpPr>
        <p:spPr>
          <a:xfrm>
            <a:off x="619002" y="4646563"/>
            <a:ext cx="5472608" cy="5673907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53" name="CaixaDeTexto 52"/>
          <p:cNvSpPr txBox="1"/>
          <p:nvPr/>
        </p:nvSpPr>
        <p:spPr>
          <a:xfrm>
            <a:off x="943038" y="4862587"/>
            <a:ext cx="5040560" cy="38933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pt-BR" sz="3600" dirty="0">
                <a:solidFill>
                  <a:srgbClr val="000000"/>
                </a:solidFill>
              </a:rPr>
              <a:t>Acessar a Pasta: Área de trabalho</a:t>
            </a:r>
          </a:p>
          <a:p>
            <a:pPr marL="342900" indent="-342900">
              <a:buFont typeface="+mj-lt"/>
              <a:buAutoNum type="arabicPeriod"/>
            </a:pPr>
            <a:endParaRPr lang="pt-BR" sz="1500" dirty="0">
              <a:solidFill>
                <a:srgbClr val="000000"/>
              </a:solidFill>
            </a:endParaRPr>
          </a:p>
          <a:p>
            <a:pPr marL="342900" indent="-342900">
              <a:buFont typeface="+mj-lt"/>
              <a:buAutoNum type="arabicPeriod"/>
            </a:pPr>
            <a:endParaRPr lang="pt-BR" sz="100" dirty="0">
              <a:solidFill>
                <a:srgbClr val="000000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pt-BR" sz="3600" dirty="0">
                <a:solidFill>
                  <a:srgbClr val="000000"/>
                </a:solidFill>
              </a:rPr>
              <a:t>Selecionar o Arquivo “</a:t>
            </a:r>
            <a:r>
              <a:rPr lang="pt-BR" sz="3600" dirty="0" err="1">
                <a:solidFill>
                  <a:srgbClr val="000000"/>
                </a:solidFill>
              </a:rPr>
              <a:t>Mod_PMO_GSTI_CBMM.bas</a:t>
            </a:r>
            <a:r>
              <a:rPr lang="pt-BR" sz="3600" dirty="0">
                <a:solidFill>
                  <a:srgbClr val="000000"/>
                </a:solidFill>
              </a:rPr>
              <a:t> </a:t>
            </a:r>
          </a:p>
          <a:p>
            <a:pPr marL="342900" indent="-342900">
              <a:buFont typeface="+mj-lt"/>
              <a:buAutoNum type="arabicPeriod"/>
            </a:pPr>
            <a:endParaRPr lang="pt-BR" sz="1500" dirty="0">
              <a:solidFill>
                <a:srgbClr val="000000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pt-BR" sz="3600" dirty="0">
                <a:solidFill>
                  <a:srgbClr val="000000"/>
                </a:solidFill>
              </a:rPr>
              <a:t>Clicar em abrir</a:t>
            </a:r>
          </a:p>
        </p:txBody>
      </p:sp>
      <p:sp>
        <p:nvSpPr>
          <p:cNvPr id="54" name="Título 1"/>
          <p:cNvSpPr txBox="1">
            <a:spLocks/>
          </p:cNvSpPr>
          <p:nvPr/>
        </p:nvSpPr>
        <p:spPr>
          <a:xfrm>
            <a:off x="835028" y="4215234"/>
            <a:ext cx="5256581" cy="48013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47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936" kern="1200" baseline="0">
                <a:solidFill>
                  <a:srgbClr val="006067"/>
                </a:solidFill>
                <a:latin typeface="Agenda Medium" charset="0"/>
                <a:ea typeface="Agenda Medium" charset="0"/>
                <a:cs typeface="Agenda Medium" charset="0"/>
              </a:defRPr>
            </a:lvl1pPr>
          </a:lstStyle>
          <a:p>
            <a:r>
              <a:rPr lang="en-US" sz="2800" dirty="0">
                <a:solidFill>
                  <a:schemeClr val="accent5">
                    <a:lumMod val="50000"/>
                  </a:schemeClr>
                </a:solidFill>
                <a:latin typeface="+mn-lt"/>
              </a:rPr>
              <a:t>3.3)</a:t>
            </a:r>
            <a:r>
              <a:rPr lang="en-US" sz="2800" dirty="0" err="1">
                <a:solidFill>
                  <a:schemeClr val="accent5">
                    <a:lumMod val="50000"/>
                  </a:schemeClr>
                </a:solidFill>
                <a:latin typeface="+mn-lt"/>
              </a:rPr>
              <a:t>Importar</a:t>
            </a:r>
            <a:r>
              <a:rPr lang="en-US" sz="2800" dirty="0">
                <a:solidFill>
                  <a:schemeClr val="accent5">
                    <a:lumMod val="50000"/>
                  </a:schemeClr>
                </a:solidFill>
                <a:latin typeface="+mn-lt"/>
              </a:rPr>
              <a:t> </a:t>
            </a:r>
            <a:r>
              <a:rPr lang="en-US" sz="2800" dirty="0" err="1">
                <a:solidFill>
                  <a:schemeClr val="accent5">
                    <a:lumMod val="50000"/>
                  </a:schemeClr>
                </a:solidFill>
                <a:latin typeface="+mn-lt"/>
              </a:rPr>
              <a:t>arquivo</a:t>
            </a:r>
            <a:r>
              <a:rPr lang="en-US" sz="2800" dirty="0">
                <a:solidFill>
                  <a:schemeClr val="accent5">
                    <a:lumMod val="50000"/>
                  </a:schemeClr>
                </a:solidFill>
                <a:latin typeface="+mn-lt"/>
              </a:rPr>
              <a:t> Mod</a:t>
            </a:r>
          </a:p>
        </p:txBody>
      </p:sp>
    </p:spTree>
    <p:extLst>
      <p:ext uri="{BB962C8B-B14F-4D97-AF65-F5344CB8AC3E}">
        <p14:creationId xmlns:p14="http://schemas.microsoft.com/office/powerpoint/2010/main" val="425020910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" name="Objeto 50" hidden="1">
            <a:extLst>
              <a:ext uri="{FF2B5EF4-FFF2-40B4-BE49-F238E27FC236}">
                <a16:creationId xmlns:a16="http://schemas.microsoft.com/office/drawing/2014/main" id="{7E65BC4C-0858-4F13-A045-BAC5EB65DAD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5" imgW="317" imgH="318" progId="TCLayout.ActiveDocument.1">
                  <p:embed/>
                </p:oleObj>
              </mc:Choice>
              <mc:Fallback>
                <p:oleObj name="Slide do think-cell" r:id="rId5" imgW="317" imgH="318" progId="TCLayout.ActiveDocument.1">
                  <p:embed/>
                  <p:pic>
                    <p:nvPicPr>
                      <p:cNvPr id="51" name="Objeto 50" hidden="1">
                        <a:extLst>
                          <a:ext uri="{FF2B5EF4-FFF2-40B4-BE49-F238E27FC236}">
                            <a16:creationId xmlns:a16="http://schemas.microsoft.com/office/drawing/2014/main" id="{7E65BC4C-0858-4F13-A045-BAC5EB65DA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Retângulo 49" hidden="1">
            <a:extLst>
              <a:ext uri="{FF2B5EF4-FFF2-40B4-BE49-F238E27FC236}">
                <a16:creationId xmlns:a16="http://schemas.microsoft.com/office/drawing/2014/main" id="{B6FD34B5-13C2-49BE-8AF2-FCDC4689AF2B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000">
              <a:latin typeface="Calibri" panose="020F0502020204030204" pitchFamily="34" charset="0"/>
              <a:sym typeface="+mn-lt"/>
            </a:endParaRPr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9CB7E9B1-69E0-4E6D-BF67-AE78100CC5D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9485098" y="10669637"/>
            <a:ext cx="720080" cy="601662"/>
          </a:xfrm>
        </p:spPr>
        <p:txBody>
          <a:bodyPr/>
          <a:lstStyle/>
          <a:p>
            <a:fld id="{BE418F81-F092-F643-8EAE-268022441A30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9" name="Título 1"/>
          <p:cNvSpPr>
            <a:spLocks noGrp="1"/>
          </p:cNvSpPr>
          <p:nvPr>
            <p:ph type="title"/>
          </p:nvPr>
        </p:nvSpPr>
        <p:spPr>
          <a:xfrm>
            <a:off x="546994" y="758131"/>
            <a:ext cx="17058188" cy="840230"/>
          </a:xfrm>
        </p:spPr>
        <p:txBody>
          <a:bodyPr/>
          <a:lstStyle/>
          <a:p>
            <a:r>
              <a:rPr lang="en-US" sz="5400" dirty="0" err="1">
                <a:solidFill>
                  <a:schemeClr val="accent5">
                    <a:lumMod val="50000"/>
                  </a:schemeClr>
                </a:solidFill>
              </a:rPr>
              <a:t>Instalação</a:t>
            </a:r>
            <a:r>
              <a:rPr lang="en-US" sz="5400" dirty="0">
                <a:solidFill>
                  <a:schemeClr val="accent5">
                    <a:lumMod val="50000"/>
                  </a:schemeClr>
                </a:solidFill>
              </a:rPr>
              <a:t> da Barra de </a:t>
            </a:r>
            <a:r>
              <a:rPr lang="en-US" sz="5400" dirty="0" err="1">
                <a:solidFill>
                  <a:schemeClr val="accent5">
                    <a:lumMod val="50000"/>
                  </a:schemeClr>
                </a:solidFill>
              </a:rPr>
              <a:t>Ferramentas</a:t>
            </a:r>
            <a:r>
              <a:rPr lang="en-US" sz="5400" dirty="0">
                <a:solidFill>
                  <a:schemeClr val="accent5">
                    <a:lumMod val="50000"/>
                  </a:schemeClr>
                </a:solidFill>
              </a:rPr>
              <a:t> do GSTI </a:t>
            </a:r>
          </a:p>
        </p:txBody>
      </p:sp>
      <p:grpSp>
        <p:nvGrpSpPr>
          <p:cNvPr id="12" name="Grupo 11"/>
          <p:cNvGrpSpPr/>
          <p:nvPr/>
        </p:nvGrpSpPr>
        <p:grpSpPr>
          <a:xfrm>
            <a:off x="2635225" y="2054275"/>
            <a:ext cx="13321480" cy="1728192"/>
            <a:chOff x="2507233" y="5222627"/>
            <a:chExt cx="13399460" cy="1276139"/>
          </a:xfrm>
        </p:grpSpPr>
        <p:grpSp>
          <p:nvGrpSpPr>
            <p:cNvPr id="60" name="Grupo 59"/>
            <p:cNvGrpSpPr/>
            <p:nvPr/>
          </p:nvGrpSpPr>
          <p:grpSpPr>
            <a:xfrm>
              <a:off x="2507233" y="5222627"/>
              <a:ext cx="3190347" cy="1276139"/>
              <a:chOff x="1636" y="3829508"/>
              <a:chExt cx="3190347" cy="1276139"/>
            </a:xfrm>
          </p:grpSpPr>
          <p:sp>
            <p:nvSpPr>
              <p:cNvPr id="73" name="Pentágono 72"/>
              <p:cNvSpPr/>
              <p:nvPr/>
            </p:nvSpPr>
            <p:spPr>
              <a:xfrm>
                <a:off x="1636" y="3829508"/>
                <a:ext cx="3190347" cy="1276139"/>
              </a:xfrm>
              <a:prstGeom prst="homePlate">
                <a:avLst/>
              </a:prstGeom>
              <a:solidFill>
                <a:schemeClr val="bg1">
                  <a:lumMod val="65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74" name="Pentágono 4"/>
              <p:cNvSpPr/>
              <p:nvPr/>
            </p:nvSpPr>
            <p:spPr>
              <a:xfrm>
                <a:off x="1636" y="3829508"/>
                <a:ext cx="2871312" cy="1276139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106680" tIns="53340" rIns="26670" bIns="53340" numCol="1" spcCol="1270" anchor="ctr" anchorCtr="0">
                <a:no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pt-BR" kern="1200" dirty="0"/>
                  <a:t>1. Exclusão de todas as personalizações</a:t>
                </a:r>
              </a:p>
            </p:txBody>
          </p:sp>
        </p:grpSp>
        <p:grpSp>
          <p:nvGrpSpPr>
            <p:cNvPr id="61" name="Grupo 60"/>
            <p:cNvGrpSpPr/>
            <p:nvPr/>
          </p:nvGrpSpPr>
          <p:grpSpPr>
            <a:xfrm>
              <a:off x="5059511" y="5222627"/>
              <a:ext cx="3190347" cy="1276139"/>
              <a:chOff x="2553914" y="3829508"/>
              <a:chExt cx="3190347" cy="1276139"/>
            </a:xfrm>
          </p:grpSpPr>
          <p:sp>
            <p:nvSpPr>
              <p:cNvPr id="71" name="Divisa 70"/>
              <p:cNvSpPr/>
              <p:nvPr/>
            </p:nvSpPr>
            <p:spPr>
              <a:xfrm>
                <a:off x="2553914" y="3829508"/>
                <a:ext cx="3190347" cy="1276139"/>
              </a:xfrm>
              <a:prstGeom prst="chevron">
                <a:avLst/>
              </a:prstGeom>
              <a:solidFill>
                <a:schemeClr val="bg1">
                  <a:lumMod val="65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72" name="Divisa 6"/>
              <p:cNvSpPr/>
              <p:nvPr/>
            </p:nvSpPr>
            <p:spPr>
              <a:xfrm>
                <a:off x="3260965" y="3829508"/>
                <a:ext cx="1914208" cy="1276139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80010" tIns="53340" rIns="26670" bIns="53340" numCol="1" spcCol="1270" anchor="ctr" anchorCtr="0">
                <a:no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pt-BR" sz="2000" kern="1200" dirty="0"/>
                  <a:t>2. Exclusão dos módulos e formulários existentes </a:t>
                </a:r>
              </a:p>
            </p:txBody>
          </p:sp>
        </p:grpSp>
        <p:grpSp>
          <p:nvGrpSpPr>
            <p:cNvPr id="62" name="Grupo 61"/>
            <p:cNvGrpSpPr/>
            <p:nvPr/>
          </p:nvGrpSpPr>
          <p:grpSpPr>
            <a:xfrm>
              <a:off x="7611789" y="5222627"/>
              <a:ext cx="3190347" cy="1276139"/>
              <a:chOff x="5106192" y="3829508"/>
              <a:chExt cx="3190347" cy="1276139"/>
            </a:xfrm>
          </p:grpSpPr>
          <p:sp>
            <p:nvSpPr>
              <p:cNvPr id="69" name="Divisa 68"/>
              <p:cNvSpPr/>
              <p:nvPr/>
            </p:nvSpPr>
            <p:spPr>
              <a:xfrm>
                <a:off x="5106192" y="3829508"/>
                <a:ext cx="3190347" cy="1276139"/>
              </a:xfrm>
              <a:prstGeom prst="chevron">
                <a:avLst/>
              </a:prstGeom>
              <a:solidFill>
                <a:schemeClr val="accent1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70" name="Divisa 8"/>
              <p:cNvSpPr/>
              <p:nvPr/>
            </p:nvSpPr>
            <p:spPr>
              <a:xfrm>
                <a:off x="5744262" y="3829508"/>
                <a:ext cx="1914208" cy="1276139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80010" tIns="53340" rIns="26670" bIns="53340" numCol="1" spcCol="1270" anchor="ctr" anchorCtr="0">
                <a:no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pt-BR" sz="2400" kern="1200" dirty="0"/>
                  <a:t>3. Importação de novos módulos</a:t>
                </a:r>
              </a:p>
            </p:txBody>
          </p:sp>
        </p:grpSp>
        <p:grpSp>
          <p:nvGrpSpPr>
            <p:cNvPr id="63" name="Grupo 62"/>
            <p:cNvGrpSpPr/>
            <p:nvPr/>
          </p:nvGrpSpPr>
          <p:grpSpPr>
            <a:xfrm>
              <a:off x="10164067" y="5222627"/>
              <a:ext cx="3190347" cy="1276139"/>
              <a:chOff x="7658470" y="3829508"/>
              <a:chExt cx="3190347" cy="1276139"/>
            </a:xfrm>
          </p:grpSpPr>
          <p:sp>
            <p:nvSpPr>
              <p:cNvPr id="67" name="Divisa 66"/>
              <p:cNvSpPr/>
              <p:nvPr/>
            </p:nvSpPr>
            <p:spPr>
              <a:xfrm>
                <a:off x="7658470" y="3829508"/>
                <a:ext cx="3190347" cy="1276139"/>
              </a:xfrm>
              <a:prstGeom prst="chevron">
                <a:avLst/>
              </a:prstGeom>
              <a:solidFill>
                <a:schemeClr val="bg1">
                  <a:lumMod val="65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68" name="Divisa 10"/>
              <p:cNvSpPr/>
              <p:nvPr/>
            </p:nvSpPr>
            <p:spPr>
              <a:xfrm>
                <a:off x="8296540" y="3829508"/>
                <a:ext cx="1914208" cy="1276139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80010" tIns="53340" rIns="26670" bIns="53340" numCol="1" spcCol="1270" anchor="ctr" anchorCtr="0">
                <a:no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pt-BR" kern="1200" dirty="0"/>
                  <a:t>4. Importação da barra de ferramentas GSTI</a:t>
                </a:r>
              </a:p>
            </p:txBody>
          </p:sp>
        </p:grpSp>
        <p:grpSp>
          <p:nvGrpSpPr>
            <p:cNvPr id="64" name="Grupo 63"/>
            <p:cNvGrpSpPr/>
            <p:nvPr/>
          </p:nvGrpSpPr>
          <p:grpSpPr>
            <a:xfrm>
              <a:off x="12716346" y="5222627"/>
              <a:ext cx="3190347" cy="1276139"/>
              <a:chOff x="10210749" y="3829508"/>
              <a:chExt cx="3190347" cy="1276139"/>
            </a:xfrm>
          </p:grpSpPr>
          <p:sp>
            <p:nvSpPr>
              <p:cNvPr id="65" name="Divisa 64"/>
              <p:cNvSpPr/>
              <p:nvPr/>
            </p:nvSpPr>
            <p:spPr>
              <a:xfrm>
                <a:off x="10210749" y="3829508"/>
                <a:ext cx="3190347" cy="1276139"/>
              </a:xfrm>
              <a:prstGeom prst="chevron">
                <a:avLst/>
              </a:prstGeom>
              <a:solidFill>
                <a:schemeClr val="bg1">
                  <a:lumMod val="65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66" name="Divisa 12"/>
              <p:cNvSpPr/>
              <p:nvPr/>
            </p:nvSpPr>
            <p:spPr>
              <a:xfrm>
                <a:off x="11037625" y="3829508"/>
                <a:ext cx="1914208" cy="1276139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80010" tIns="53340" rIns="26670" bIns="53340" numCol="1" spcCol="1270" anchor="ctr" anchorCtr="0">
                <a:no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pt-BR" kern="1200" dirty="0"/>
                  <a:t>5. Marcar a </a:t>
                </a:r>
                <a:r>
                  <a:rPr lang="pt-BR" kern="1200" dirty="0" err="1"/>
                  <a:t>dll</a:t>
                </a:r>
                <a:r>
                  <a:rPr lang="pt-BR" kern="1200" dirty="0"/>
                  <a:t> do </a:t>
                </a:r>
                <a:r>
                  <a:rPr lang="pt-BR" kern="1200" dirty="0" err="1"/>
                  <a:t>excel</a:t>
                </a:r>
                <a:r>
                  <a:rPr lang="pt-BR" kern="1200" dirty="0"/>
                  <a:t>  dentro do Project</a:t>
                </a:r>
              </a:p>
            </p:txBody>
          </p:sp>
        </p:grpSp>
      </p:grpSp>
      <p:cxnSp>
        <p:nvCxnSpPr>
          <p:cNvPr id="35" name="Conector de seta reta 34"/>
          <p:cNvCxnSpPr>
            <a:stCxn id="36" idx="3"/>
          </p:cNvCxnSpPr>
          <p:nvPr/>
        </p:nvCxnSpPr>
        <p:spPr>
          <a:xfrm>
            <a:off x="11019328" y="7406930"/>
            <a:ext cx="981150" cy="98948"/>
          </a:xfrm>
          <a:prstGeom prst="straightConnector1">
            <a:avLst/>
          </a:prstGeom>
          <a:ln w="57150">
            <a:solidFill>
              <a:srgbClr val="FF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6" name="Retângulo 35"/>
          <p:cNvSpPr/>
          <p:nvPr/>
        </p:nvSpPr>
        <p:spPr>
          <a:xfrm>
            <a:off x="10503748" y="7034989"/>
            <a:ext cx="515580" cy="743882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4000" dirty="0"/>
              <a:t>1</a:t>
            </a:r>
          </a:p>
        </p:txBody>
      </p:sp>
      <p:sp>
        <p:nvSpPr>
          <p:cNvPr id="31" name="Retângulo 30"/>
          <p:cNvSpPr/>
          <p:nvPr/>
        </p:nvSpPr>
        <p:spPr>
          <a:xfrm>
            <a:off x="12000478" y="7382867"/>
            <a:ext cx="1003900" cy="266932"/>
          </a:xfrm>
          <a:prstGeom prst="rect">
            <a:avLst/>
          </a:prstGeom>
          <a:noFill/>
          <a:ln w="38100">
            <a:solidFill>
              <a:srgbClr val="FF0000"/>
            </a:solidFill>
            <a:prstDash val="sys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pic>
        <p:nvPicPr>
          <p:cNvPr id="33" name="Picture 2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081" t="18322" r="14933" b="19643"/>
          <a:stretch/>
        </p:blipFill>
        <p:spPr bwMode="auto">
          <a:xfrm>
            <a:off x="6641585" y="4194799"/>
            <a:ext cx="13059537" cy="660244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29" name="Retângulo de cantos arredondados 28"/>
          <p:cNvSpPr/>
          <p:nvPr/>
        </p:nvSpPr>
        <p:spPr>
          <a:xfrm>
            <a:off x="619002" y="4646563"/>
            <a:ext cx="5472608" cy="5673907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30" name="CaixaDeTexto 29"/>
          <p:cNvSpPr txBox="1"/>
          <p:nvPr/>
        </p:nvSpPr>
        <p:spPr>
          <a:xfrm>
            <a:off x="943038" y="4815835"/>
            <a:ext cx="5040560" cy="36471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pt-BR" sz="3600" dirty="0">
                <a:solidFill>
                  <a:srgbClr val="000000"/>
                </a:solidFill>
              </a:rPr>
              <a:t>Salvar no símbolo do disquete as mudanças feitas no Visual Basic</a:t>
            </a:r>
          </a:p>
          <a:p>
            <a:pPr marL="342900" indent="-342900">
              <a:buFont typeface="+mj-lt"/>
              <a:buAutoNum type="arabicPeriod"/>
            </a:pPr>
            <a:endParaRPr lang="pt-BR" sz="1500" dirty="0">
              <a:solidFill>
                <a:srgbClr val="000000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pt-BR" sz="3600" dirty="0">
                <a:solidFill>
                  <a:srgbClr val="000000"/>
                </a:solidFill>
              </a:rPr>
              <a:t>Clicar no “X” para fechar a Janela do Visual Basic</a:t>
            </a:r>
          </a:p>
        </p:txBody>
      </p:sp>
      <p:sp>
        <p:nvSpPr>
          <p:cNvPr id="32" name="Título 1"/>
          <p:cNvSpPr txBox="1">
            <a:spLocks/>
          </p:cNvSpPr>
          <p:nvPr/>
        </p:nvSpPr>
        <p:spPr>
          <a:xfrm>
            <a:off x="835028" y="4215234"/>
            <a:ext cx="5256581" cy="48013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47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936" kern="1200" baseline="0">
                <a:solidFill>
                  <a:srgbClr val="006067"/>
                </a:solidFill>
                <a:latin typeface="Agenda Medium" charset="0"/>
                <a:ea typeface="Agenda Medium" charset="0"/>
                <a:cs typeface="Agenda Medium" charset="0"/>
              </a:defRPr>
            </a:lvl1pPr>
          </a:lstStyle>
          <a:p>
            <a:r>
              <a:rPr lang="en-US" sz="2800" dirty="0">
                <a:solidFill>
                  <a:schemeClr val="accent5">
                    <a:lumMod val="50000"/>
                  </a:schemeClr>
                </a:solidFill>
                <a:latin typeface="+mn-lt"/>
              </a:rPr>
              <a:t>3.4)</a:t>
            </a:r>
            <a:r>
              <a:rPr lang="en-US" sz="2800" dirty="0" err="1">
                <a:solidFill>
                  <a:schemeClr val="accent5">
                    <a:lumMod val="50000"/>
                  </a:schemeClr>
                </a:solidFill>
                <a:latin typeface="+mn-lt"/>
              </a:rPr>
              <a:t>Sair</a:t>
            </a:r>
            <a:r>
              <a:rPr lang="en-US" sz="2800" dirty="0">
                <a:solidFill>
                  <a:schemeClr val="accent5">
                    <a:lumMod val="50000"/>
                  </a:schemeClr>
                </a:solidFill>
                <a:latin typeface="+mn-lt"/>
              </a:rPr>
              <a:t> do Visual Basic</a:t>
            </a:r>
          </a:p>
        </p:txBody>
      </p:sp>
      <p:cxnSp>
        <p:nvCxnSpPr>
          <p:cNvPr id="40" name="Conector de seta reta 39"/>
          <p:cNvCxnSpPr>
            <a:stCxn id="41" idx="1"/>
            <a:endCxn id="42" idx="3"/>
          </p:cNvCxnSpPr>
          <p:nvPr/>
        </p:nvCxnSpPr>
        <p:spPr>
          <a:xfrm flipH="1" flipV="1">
            <a:off x="7929530" y="5077845"/>
            <a:ext cx="1585450" cy="660739"/>
          </a:xfrm>
          <a:prstGeom prst="straightConnector1">
            <a:avLst/>
          </a:prstGeom>
          <a:ln w="57150">
            <a:solidFill>
              <a:srgbClr val="FF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1" name="Retângulo 40"/>
          <p:cNvSpPr/>
          <p:nvPr/>
        </p:nvSpPr>
        <p:spPr>
          <a:xfrm>
            <a:off x="9514980" y="5366643"/>
            <a:ext cx="411159" cy="743882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4000" dirty="0"/>
              <a:t>1</a:t>
            </a:r>
          </a:p>
        </p:txBody>
      </p:sp>
      <p:sp>
        <p:nvSpPr>
          <p:cNvPr id="42" name="Retângulo 41"/>
          <p:cNvSpPr/>
          <p:nvPr/>
        </p:nvSpPr>
        <p:spPr>
          <a:xfrm>
            <a:off x="7603778" y="4934595"/>
            <a:ext cx="325752" cy="286500"/>
          </a:xfrm>
          <a:prstGeom prst="rect">
            <a:avLst/>
          </a:prstGeom>
          <a:noFill/>
          <a:ln w="38100">
            <a:solidFill>
              <a:srgbClr val="FF0000"/>
            </a:solidFill>
            <a:prstDash val="sys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cxnSp>
        <p:nvCxnSpPr>
          <p:cNvPr id="43" name="Conector de seta reta 42"/>
          <p:cNvCxnSpPr>
            <a:stCxn id="44" idx="0"/>
            <a:endCxn id="45" idx="2"/>
          </p:cNvCxnSpPr>
          <p:nvPr/>
        </p:nvCxnSpPr>
        <p:spPr>
          <a:xfrm flipV="1">
            <a:off x="18230536" y="4481299"/>
            <a:ext cx="297569" cy="926915"/>
          </a:xfrm>
          <a:prstGeom prst="straightConnector1">
            <a:avLst/>
          </a:prstGeom>
          <a:ln w="57150">
            <a:solidFill>
              <a:srgbClr val="FF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4" name="Retângulo 43"/>
          <p:cNvSpPr/>
          <p:nvPr/>
        </p:nvSpPr>
        <p:spPr>
          <a:xfrm>
            <a:off x="18024956" y="5408214"/>
            <a:ext cx="411159" cy="743882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4000" dirty="0"/>
              <a:t>2</a:t>
            </a:r>
          </a:p>
        </p:txBody>
      </p:sp>
      <p:sp>
        <p:nvSpPr>
          <p:cNvPr id="45" name="Retângulo 44"/>
          <p:cNvSpPr/>
          <p:nvPr/>
        </p:nvSpPr>
        <p:spPr>
          <a:xfrm>
            <a:off x="18365229" y="4194799"/>
            <a:ext cx="325752" cy="286500"/>
          </a:xfrm>
          <a:prstGeom prst="rect">
            <a:avLst/>
          </a:prstGeom>
          <a:noFill/>
          <a:ln w="38100">
            <a:solidFill>
              <a:srgbClr val="FF0000"/>
            </a:solidFill>
            <a:prstDash val="sys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40030337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Picture 2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9" t="-1" r="41268" b="47370"/>
          <a:stretch/>
        </p:blipFill>
        <p:spPr bwMode="auto">
          <a:xfrm>
            <a:off x="6641584" y="4235013"/>
            <a:ext cx="13059537" cy="66042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graphicFrame>
        <p:nvGraphicFramePr>
          <p:cNvPr id="51" name="Objeto 50" hidden="1">
            <a:extLst>
              <a:ext uri="{FF2B5EF4-FFF2-40B4-BE49-F238E27FC236}">
                <a16:creationId xmlns:a16="http://schemas.microsoft.com/office/drawing/2014/main" id="{7E65BC4C-0858-4F13-A045-BAC5EB65DAD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6" imgW="317" imgH="318" progId="TCLayout.ActiveDocument.1">
                  <p:embed/>
                </p:oleObj>
              </mc:Choice>
              <mc:Fallback>
                <p:oleObj name="Slide do think-cell" r:id="rId6" imgW="317" imgH="318" progId="TCLayout.ActiveDocument.1">
                  <p:embed/>
                  <p:pic>
                    <p:nvPicPr>
                      <p:cNvPr id="51" name="Objeto 50" hidden="1">
                        <a:extLst>
                          <a:ext uri="{FF2B5EF4-FFF2-40B4-BE49-F238E27FC236}">
                            <a16:creationId xmlns:a16="http://schemas.microsoft.com/office/drawing/2014/main" id="{7E65BC4C-0858-4F13-A045-BAC5EB65DA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Retângulo 49" hidden="1">
            <a:extLst>
              <a:ext uri="{FF2B5EF4-FFF2-40B4-BE49-F238E27FC236}">
                <a16:creationId xmlns:a16="http://schemas.microsoft.com/office/drawing/2014/main" id="{B6FD34B5-13C2-49BE-8AF2-FCDC4689AF2B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000">
              <a:latin typeface="Calibri" panose="020F0502020204030204" pitchFamily="34" charset="0"/>
              <a:sym typeface="+mn-lt"/>
            </a:endParaRPr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9CB7E9B1-69E0-4E6D-BF67-AE78100CC5D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9485098" y="10669637"/>
            <a:ext cx="720080" cy="601662"/>
          </a:xfrm>
        </p:spPr>
        <p:txBody>
          <a:bodyPr/>
          <a:lstStyle/>
          <a:p>
            <a:fld id="{BE418F81-F092-F643-8EAE-268022441A30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9" name="Título 1"/>
          <p:cNvSpPr>
            <a:spLocks noGrp="1"/>
          </p:cNvSpPr>
          <p:nvPr>
            <p:ph type="title"/>
          </p:nvPr>
        </p:nvSpPr>
        <p:spPr>
          <a:xfrm>
            <a:off x="546994" y="758131"/>
            <a:ext cx="17058188" cy="840230"/>
          </a:xfrm>
        </p:spPr>
        <p:txBody>
          <a:bodyPr/>
          <a:lstStyle/>
          <a:p>
            <a:r>
              <a:rPr lang="en-US" sz="5400" dirty="0" err="1">
                <a:solidFill>
                  <a:schemeClr val="accent5">
                    <a:lumMod val="50000"/>
                  </a:schemeClr>
                </a:solidFill>
              </a:rPr>
              <a:t>Instalação</a:t>
            </a:r>
            <a:r>
              <a:rPr lang="en-US" sz="5400" dirty="0">
                <a:solidFill>
                  <a:schemeClr val="accent5">
                    <a:lumMod val="50000"/>
                  </a:schemeClr>
                </a:solidFill>
              </a:rPr>
              <a:t> da Barra de </a:t>
            </a:r>
            <a:r>
              <a:rPr lang="en-US" sz="5400" dirty="0" err="1">
                <a:solidFill>
                  <a:schemeClr val="accent5">
                    <a:lumMod val="50000"/>
                  </a:schemeClr>
                </a:solidFill>
              </a:rPr>
              <a:t>Ferramentas</a:t>
            </a:r>
            <a:r>
              <a:rPr lang="en-US" sz="5400" dirty="0">
                <a:solidFill>
                  <a:schemeClr val="accent5">
                    <a:lumMod val="50000"/>
                  </a:schemeClr>
                </a:solidFill>
              </a:rPr>
              <a:t> do GSTI </a:t>
            </a:r>
          </a:p>
        </p:txBody>
      </p:sp>
      <p:grpSp>
        <p:nvGrpSpPr>
          <p:cNvPr id="12" name="Grupo 11"/>
          <p:cNvGrpSpPr/>
          <p:nvPr/>
        </p:nvGrpSpPr>
        <p:grpSpPr>
          <a:xfrm>
            <a:off x="2635225" y="2054275"/>
            <a:ext cx="13321480" cy="1728192"/>
            <a:chOff x="2507233" y="5222627"/>
            <a:chExt cx="13399460" cy="1276139"/>
          </a:xfrm>
        </p:grpSpPr>
        <p:grpSp>
          <p:nvGrpSpPr>
            <p:cNvPr id="60" name="Grupo 59"/>
            <p:cNvGrpSpPr/>
            <p:nvPr/>
          </p:nvGrpSpPr>
          <p:grpSpPr>
            <a:xfrm>
              <a:off x="2507233" y="5222627"/>
              <a:ext cx="3190347" cy="1276139"/>
              <a:chOff x="1636" y="3829508"/>
              <a:chExt cx="3190347" cy="1276139"/>
            </a:xfrm>
          </p:grpSpPr>
          <p:sp>
            <p:nvSpPr>
              <p:cNvPr id="73" name="Pentágono 72"/>
              <p:cNvSpPr/>
              <p:nvPr/>
            </p:nvSpPr>
            <p:spPr>
              <a:xfrm>
                <a:off x="1636" y="3829508"/>
                <a:ext cx="3190347" cy="1276139"/>
              </a:xfrm>
              <a:prstGeom prst="homePlate">
                <a:avLst/>
              </a:prstGeom>
              <a:solidFill>
                <a:schemeClr val="bg1">
                  <a:lumMod val="65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74" name="Pentágono 4"/>
              <p:cNvSpPr/>
              <p:nvPr/>
            </p:nvSpPr>
            <p:spPr>
              <a:xfrm>
                <a:off x="1636" y="3829508"/>
                <a:ext cx="2871312" cy="1276139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106680" tIns="53340" rIns="26670" bIns="53340" numCol="1" spcCol="1270" anchor="ctr" anchorCtr="0">
                <a:no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pt-BR" kern="1200" dirty="0"/>
                  <a:t>1. Exclusão de todas as personalizações</a:t>
                </a:r>
              </a:p>
            </p:txBody>
          </p:sp>
        </p:grpSp>
        <p:grpSp>
          <p:nvGrpSpPr>
            <p:cNvPr id="61" name="Grupo 60"/>
            <p:cNvGrpSpPr/>
            <p:nvPr/>
          </p:nvGrpSpPr>
          <p:grpSpPr>
            <a:xfrm>
              <a:off x="5059511" y="5222627"/>
              <a:ext cx="3190347" cy="1276139"/>
              <a:chOff x="2553914" y="3829508"/>
              <a:chExt cx="3190347" cy="1276139"/>
            </a:xfrm>
          </p:grpSpPr>
          <p:sp>
            <p:nvSpPr>
              <p:cNvPr id="71" name="Divisa 70"/>
              <p:cNvSpPr/>
              <p:nvPr/>
            </p:nvSpPr>
            <p:spPr>
              <a:xfrm>
                <a:off x="2553914" y="3829508"/>
                <a:ext cx="3190347" cy="1276139"/>
              </a:xfrm>
              <a:prstGeom prst="chevron">
                <a:avLst/>
              </a:prstGeom>
              <a:solidFill>
                <a:schemeClr val="bg1">
                  <a:lumMod val="65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72" name="Divisa 6"/>
              <p:cNvSpPr/>
              <p:nvPr/>
            </p:nvSpPr>
            <p:spPr>
              <a:xfrm>
                <a:off x="3260965" y="3829508"/>
                <a:ext cx="1914208" cy="1276139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80010" tIns="53340" rIns="26670" bIns="53340" numCol="1" spcCol="1270" anchor="ctr" anchorCtr="0">
                <a:no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pt-BR" sz="2000" kern="1200" dirty="0"/>
                  <a:t>2. Exclusão dos módulos e formulários existentes </a:t>
                </a:r>
              </a:p>
            </p:txBody>
          </p:sp>
        </p:grpSp>
        <p:grpSp>
          <p:nvGrpSpPr>
            <p:cNvPr id="62" name="Grupo 61"/>
            <p:cNvGrpSpPr/>
            <p:nvPr/>
          </p:nvGrpSpPr>
          <p:grpSpPr>
            <a:xfrm>
              <a:off x="7611789" y="5222627"/>
              <a:ext cx="3190347" cy="1276139"/>
              <a:chOff x="5106192" y="3829508"/>
              <a:chExt cx="3190347" cy="1276139"/>
            </a:xfrm>
          </p:grpSpPr>
          <p:sp>
            <p:nvSpPr>
              <p:cNvPr id="69" name="Divisa 68"/>
              <p:cNvSpPr/>
              <p:nvPr/>
            </p:nvSpPr>
            <p:spPr>
              <a:xfrm>
                <a:off x="5106192" y="3829508"/>
                <a:ext cx="3190347" cy="1276139"/>
              </a:xfrm>
              <a:prstGeom prst="chevron">
                <a:avLst/>
              </a:prstGeom>
              <a:solidFill>
                <a:schemeClr val="bg1">
                  <a:lumMod val="65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70" name="Divisa 8"/>
              <p:cNvSpPr/>
              <p:nvPr/>
            </p:nvSpPr>
            <p:spPr>
              <a:xfrm>
                <a:off x="5837387" y="3829508"/>
                <a:ext cx="1914208" cy="1276139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80010" tIns="53340" rIns="26670" bIns="53340" numCol="1" spcCol="1270" anchor="ctr" anchorCtr="0">
                <a:no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pt-BR" kern="1200" dirty="0"/>
                  <a:t>3. Importação de novos módulos</a:t>
                </a:r>
              </a:p>
            </p:txBody>
          </p:sp>
        </p:grpSp>
        <p:grpSp>
          <p:nvGrpSpPr>
            <p:cNvPr id="63" name="Grupo 62"/>
            <p:cNvGrpSpPr/>
            <p:nvPr/>
          </p:nvGrpSpPr>
          <p:grpSpPr>
            <a:xfrm>
              <a:off x="10164067" y="5222627"/>
              <a:ext cx="3190347" cy="1276139"/>
              <a:chOff x="7658470" y="3829508"/>
              <a:chExt cx="3190347" cy="1276139"/>
            </a:xfrm>
          </p:grpSpPr>
          <p:sp>
            <p:nvSpPr>
              <p:cNvPr id="67" name="Divisa 66"/>
              <p:cNvSpPr/>
              <p:nvPr/>
            </p:nvSpPr>
            <p:spPr>
              <a:xfrm>
                <a:off x="7658470" y="3829508"/>
                <a:ext cx="3190347" cy="1276139"/>
              </a:xfrm>
              <a:prstGeom prst="chevron">
                <a:avLst/>
              </a:prstGeom>
              <a:solidFill>
                <a:schemeClr val="accent1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68" name="Divisa 10"/>
              <p:cNvSpPr/>
              <p:nvPr/>
            </p:nvSpPr>
            <p:spPr>
              <a:xfrm>
                <a:off x="8296540" y="3829508"/>
                <a:ext cx="1914208" cy="1276139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80010" tIns="53340" rIns="26670" bIns="53340" numCol="1" spcCol="1270" anchor="ctr" anchorCtr="0">
                <a:no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pt-BR" sz="2400" kern="1200" dirty="0"/>
                  <a:t>4. Importação da barra de ferramentas GSTI</a:t>
                </a:r>
              </a:p>
            </p:txBody>
          </p:sp>
        </p:grpSp>
        <p:grpSp>
          <p:nvGrpSpPr>
            <p:cNvPr id="64" name="Grupo 63"/>
            <p:cNvGrpSpPr/>
            <p:nvPr/>
          </p:nvGrpSpPr>
          <p:grpSpPr>
            <a:xfrm>
              <a:off x="12716346" y="5222627"/>
              <a:ext cx="3190347" cy="1276139"/>
              <a:chOff x="10210749" y="3829508"/>
              <a:chExt cx="3190347" cy="1276139"/>
            </a:xfrm>
          </p:grpSpPr>
          <p:sp>
            <p:nvSpPr>
              <p:cNvPr id="65" name="Divisa 64"/>
              <p:cNvSpPr/>
              <p:nvPr/>
            </p:nvSpPr>
            <p:spPr>
              <a:xfrm>
                <a:off x="10210749" y="3829508"/>
                <a:ext cx="3190347" cy="1276139"/>
              </a:xfrm>
              <a:prstGeom prst="chevron">
                <a:avLst/>
              </a:prstGeom>
              <a:solidFill>
                <a:schemeClr val="bg1">
                  <a:lumMod val="65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66" name="Divisa 12"/>
              <p:cNvSpPr/>
              <p:nvPr/>
            </p:nvSpPr>
            <p:spPr>
              <a:xfrm>
                <a:off x="11037625" y="3829508"/>
                <a:ext cx="1914208" cy="1276139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80010" tIns="53340" rIns="26670" bIns="53340" numCol="1" spcCol="1270" anchor="ctr" anchorCtr="0">
                <a:no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pt-BR" kern="1200" dirty="0"/>
                  <a:t>5. Marcar a </a:t>
                </a:r>
                <a:r>
                  <a:rPr lang="pt-BR" kern="1200" dirty="0" err="1"/>
                  <a:t>dll</a:t>
                </a:r>
                <a:r>
                  <a:rPr lang="pt-BR" kern="1200" dirty="0"/>
                  <a:t> do </a:t>
                </a:r>
                <a:r>
                  <a:rPr lang="pt-BR" kern="1200" dirty="0" err="1"/>
                  <a:t>excel</a:t>
                </a:r>
                <a:r>
                  <a:rPr lang="pt-BR" kern="1200" dirty="0"/>
                  <a:t>  dentro do Project</a:t>
                </a:r>
              </a:p>
            </p:txBody>
          </p:sp>
        </p:grpSp>
      </p:grpSp>
      <p:cxnSp>
        <p:nvCxnSpPr>
          <p:cNvPr id="35" name="Conector de seta reta 34"/>
          <p:cNvCxnSpPr>
            <a:stCxn id="36" idx="3"/>
            <a:endCxn id="31" idx="1"/>
          </p:cNvCxnSpPr>
          <p:nvPr/>
        </p:nvCxnSpPr>
        <p:spPr>
          <a:xfrm flipV="1">
            <a:off x="11233499" y="6798515"/>
            <a:ext cx="958685" cy="4389"/>
          </a:xfrm>
          <a:prstGeom prst="straightConnector1">
            <a:avLst/>
          </a:prstGeom>
          <a:ln w="57150">
            <a:solidFill>
              <a:srgbClr val="FF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6" name="Retângulo 35"/>
          <p:cNvSpPr/>
          <p:nvPr/>
        </p:nvSpPr>
        <p:spPr>
          <a:xfrm>
            <a:off x="10717919" y="6430963"/>
            <a:ext cx="515580" cy="743882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4000" dirty="0"/>
              <a:t>2</a:t>
            </a:r>
          </a:p>
        </p:txBody>
      </p:sp>
      <p:sp>
        <p:nvSpPr>
          <p:cNvPr id="31" name="Retângulo 30"/>
          <p:cNvSpPr/>
          <p:nvPr/>
        </p:nvSpPr>
        <p:spPr>
          <a:xfrm>
            <a:off x="12192184" y="6662787"/>
            <a:ext cx="7292914" cy="271455"/>
          </a:xfrm>
          <a:prstGeom prst="rect">
            <a:avLst/>
          </a:prstGeom>
          <a:noFill/>
          <a:ln w="38100">
            <a:solidFill>
              <a:srgbClr val="FF0000"/>
            </a:solidFill>
            <a:prstDash val="sys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29" name="Retângulo de cantos arredondados 28"/>
          <p:cNvSpPr/>
          <p:nvPr/>
        </p:nvSpPr>
        <p:spPr>
          <a:xfrm>
            <a:off x="619002" y="4646563"/>
            <a:ext cx="5472608" cy="5673907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30" name="CaixaDeTexto 29"/>
          <p:cNvSpPr txBox="1"/>
          <p:nvPr/>
        </p:nvSpPr>
        <p:spPr>
          <a:xfrm>
            <a:off x="943038" y="4815835"/>
            <a:ext cx="5040560" cy="36471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pt-BR" sz="3600" dirty="0">
                <a:solidFill>
                  <a:srgbClr val="000000"/>
                </a:solidFill>
              </a:rPr>
              <a:t>Clique com o botão direito na barra de tarefas</a:t>
            </a:r>
          </a:p>
          <a:p>
            <a:pPr marL="342900" indent="-342900">
              <a:buFont typeface="+mj-lt"/>
              <a:buAutoNum type="arabicPeriod"/>
            </a:pPr>
            <a:endParaRPr lang="pt-BR" sz="1500" dirty="0">
              <a:solidFill>
                <a:srgbClr val="000000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pt-BR" sz="3600" dirty="0">
                <a:solidFill>
                  <a:srgbClr val="000000"/>
                </a:solidFill>
              </a:rPr>
              <a:t>Selecionar “Personalizar Barra de Ferramentas de Acesso Rápido...”</a:t>
            </a:r>
          </a:p>
        </p:txBody>
      </p:sp>
      <p:sp>
        <p:nvSpPr>
          <p:cNvPr id="32" name="Título 1"/>
          <p:cNvSpPr txBox="1">
            <a:spLocks/>
          </p:cNvSpPr>
          <p:nvPr/>
        </p:nvSpPr>
        <p:spPr>
          <a:xfrm>
            <a:off x="835028" y="4215234"/>
            <a:ext cx="5806557" cy="48013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47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936" kern="1200" baseline="0">
                <a:solidFill>
                  <a:srgbClr val="006067"/>
                </a:solidFill>
                <a:latin typeface="Agenda Medium" charset="0"/>
                <a:ea typeface="Agenda Medium" charset="0"/>
                <a:cs typeface="Agenda Medium" charset="0"/>
              </a:defRPr>
            </a:lvl1pPr>
          </a:lstStyle>
          <a:p>
            <a:r>
              <a:rPr lang="en-US" sz="2800" dirty="0">
                <a:solidFill>
                  <a:schemeClr val="accent5">
                    <a:lumMod val="50000"/>
                  </a:schemeClr>
                </a:solidFill>
                <a:latin typeface="+mn-lt"/>
              </a:rPr>
              <a:t>4.1)</a:t>
            </a:r>
            <a:r>
              <a:rPr lang="en-US" sz="2800" dirty="0" err="1">
                <a:solidFill>
                  <a:schemeClr val="accent5">
                    <a:lumMod val="50000"/>
                  </a:schemeClr>
                </a:solidFill>
                <a:latin typeface="+mn-lt"/>
              </a:rPr>
              <a:t>Personalizar</a:t>
            </a:r>
            <a:r>
              <a:rPr lang="en-US" sz="2800" dirty="0">
                <a:solidFill>
                  <a:schemeClr val="accent5">
                    <a:lumMod val="50000"/>
                  </a:schemeClr>
                </a:solidFill>
                <a:latin typeface="+mn-lt"/>
              </a:rPr>
              <a:t> Barra de </a:t>
            </a:r>
            <a:r>
              <a:rPr lang="en-US" sz="2800" dirty="0" err="1">
                <a:solidFill>
                  <a:schemeClr val="accent5">
                    <a:lumMod val="50000"/>
                  </a:schemeClr>
                </a:solidFill>
                <a:latin typeface="+mn-lt"/>
              </a:rPr>
              <a:t>ferramentas</a:t>
            </a:r>
            <a:endParaRPr lang="en-US" sz="2800" dirty="0">
              <a:solidFill>
                <a:schemeClr val="accent5">
                  <a:lumMod val="50000"/>
                </a:schemeClr>
              </a:solidFill>
              <a:latin typeface="+mn-lt"/>
            </a:endParaRPr>
          </a:p>
        </p:txBody>
      </p:sp>
      <p:cxnSp>
        <p:nvCxnSpPr>
          <p:cNvPr id="40" name="Conector de seta reta 39"/>
          <p:cNvCxnSpPr/>
          <p:nvPr/>
        </p:nvCxnSpPr>
        <p:spPr>
          <a:xfrm flipH="1">
            <a:off x="12192184" y="5738584"/>
            <a:ext cx="622081" cy="485073"/>
          </a:xfrm>
          <a:prstGeom prst="straightConnector1">
            <a:avLst/>
          </a:prstGeom>
          <a:ln w="57150">
            <a:solidFill>
              <a:srgbClr val="FF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1" name="Retângulo 40"/>
          <p:cNvSpPr/>
          <p:nvPr/>
        </p:nvSpPr>
        <p:spPr>
          <a:xfrm>
            <a:off x="12784925" y="5110926"/>
            <a:ext cx="411159" cy="743882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4000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58783722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Picture 2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660" t="38765" r="14055" b="8594"/>
          <a:stretch/>
        </p:blipFill>
        <p:spPr bwMode="auto">
          <a:xfrm>
            <a:off x="6617705" y="4214515"/>
            <a:ext cx="13083416" cy="66436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graphicFrame>
        <p:nvGraphicFramePr>
          <p:cNvPr id="51" name="Objeto 50" hidden="1">
            <a:extLst>
              <a:ext uri="{FF2B5EF4-FFF2-40B4-BE49-F238E27FC236}">
                <a16:creationId xmlns:a16="http://schemas.microsoft.com/office/drawing/2014/main" id="{7E65BC4C-0858-4F13-A045-BAC5EB65DAD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6" imgW="317" imgH="318" progId="TCLayout.ActiveDocument.1">
                  <p:embed/>
                </p:oleObj>
              </mc:Choice>
              <mc:Fallback>
                <p:oleObj name="Slide do think-cell" r:id="rId6" imgW="317" imgH="318" progId="TCLayout.ActiveDocument.1">
                  <p:embed/>
                  <p:pic>
                    <p:nvPicPr>
                      <p:cNvPr id="51" name="Objeto 50" hidden="1">
                        <a:extLst>
                          <a:ext uri="{FF2B5EF4-FFF2-40B4-BE49-F238E27FC236}">
                            <a16:creationId xmlns:a16="http://schemas.microsoft.com/office/drawing/2014/main" id="{7E65BC4C-0858-4F13-A045-BAC5EB65DA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Retângulo 49" hidden="1">
            <a:extLst>
              <a:ext uri="{FF2B5EF4-FFF2-40B4-BE49-F238E27FC236}">
                <a16:creationId xmlns:a16="http://schemas.microsoft.com/office/drawing/2014/main" id="{B6FD34B5-13C2-49BE-8AF2-FCDC4689AF2B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000">
              <a:latin typeface="Calibri" panose="020F0502020204030204" pitchFamily="34" charset="0"/>
              <a:sym typeface="+mn-lt"/>
            </a:endParaRPr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9CB7E9B1-69E0-4E6D-BF67-AE78100CC5D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9485098" y="10669637"/>
            <a:ext cx="720080" cy="601662"/>
          </a:xfrm>
        </p:spPr>
        <p:txBody>
          <a:bodyPr/>
          <a:lstStyle/>
          <a:p>
            <a:fld id="{BE418F81-F092-F643-8EAE-268022441A30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9" name="Título 1"/>
          <p:cNvSpPr>
            <a:spLocks noGrp="1"/>
          </p:cNvSpPr>
          <p:nvPr>
            <p:ph type="title"/>
          </p:nvPr>
        </p:nvSpPr>
        <p:spPr>
          <a:xfrm>
            <a:off x="546994" y="758131"/>
            <a:ext cx="17058188" cy="840230"/>
          </a:xfrm>
        </p:spPr>
        <p:txBody>
          <a:bodyPr/>
          <a:lstStyle/>
          <a:p>
            <a:r>
              <a:rPr lang="en-US" sz="5400" dirty="0" err="1">
                <a:solidFill>
                  <a:schemeClr val="accent5">
                    <a:lumMod val="50000"/>
                  </a:schemeClr>
                </a:solidFill>
              </a:rPr>
              <a:t>Instalação</a:t>
            </a:r>
            <a:r>
              <a:rPr lang="en-US" sz="5400" dirty="0">
                <a:solidFill>
                  <a:schemeClr val="accent5">
                    <a:lumMod val="50000"/>
                  </a:schemeClr>
                </a:solidFill>
              </a:rPr>
              <a:t> da Barra de </a:t>
            </a:r>
            <a:r>
              <a:rPr lang="en-US" sz="5400" dirty="0" err="1">
                <a:solidFill>
                  <a:schemeClr val="accent5">
                    <a:lumMod val="50000"/>
                  </a:schemeClr>
                </a:solidFill>
              </a:rPr>
              <a:t>Ferramentas</a:t>
            </a:r>
            <a:r>
              <a:rPr lang="en-US" sz="5400" dirty="0">
                <a:solidFill>
                  <a:schemeClr val="accent5">
                    <a:lumMod val="50000"/>
                  </a:schemeClr>
                </a:solidFill>
              </a:rPr>
              <a:t> do GSTI </a:t>
            </a:r>
          </a:p>
        </p:txBody>
      </p:sp>
      <p:grpSp>
        <p:nvGrpSpPr>
          <p:cNvPr id="12" name="Grupo 11"/>
          <p:cNvGrpSpPr/>
          <p:nvPr/>
        </p:nvGrpSpPr>
        <p:grpSpPr>
          <a:xfrm>
            <a:off x="2635225" y="2054275"/>
            <a:ext cx="13321480" cy="1728192"/>
            <a:chOff x="2507233" y="5222627"/>
            <a:chExt cx="13399460" cy="1276139"/>
          </a:xfrm>
        </p:grpSpPr>
        <p:grpSp>
          <p:nvGrpSpPr>
            <p:cNvPr id="60" name="Grupo 59"/>
            <p:cNvGrpSpPr/>
            <p:nvPr/>
          </p:nvGrpSpPr>
          <p:grpSpPr>
            <a:xfrm>
              <a:off x="2507233" y="5222627"/>
              <a:ext cx="3190347" cy="1276139"/>
              <a:chOff x="1636" y="3829508"/>
              <a:chExt cx="3190347" cy="1276139"/>
            </a:xfrm>
          </p:grpSpPr>
          <p:sp>
            <p:nvSpPr>
              <p:cNvPr id="73" name="Pentágono 72"/>
              <p:cNvSpPr/>
              <p:nvPr/>
            </p:nvSpPr>
            <p:spPr>
              <a:xfrm>
                <a:off x="1636" y="3829508"/>
                <a:ext cx="3190347" cy="1276139"/>
              </a:xfrm>
              <a:prstGeom prst="homePlate">
                <a:avLst/>
              </a:prstGeom>
              <a:solidFill>
                <a:schemeClr val="bg1">
                  <a:lumMod val="65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74" name="Pentágono 4"/>
              <p:cNvSpPr/>
              <p:nvPr/>
            </p:nvSpPr>
            <p:spPr>
              <a:xfrm>
                <a:off x="1636" y="3829508"/>
                <a:ext cx="2871312" cy="1276139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106680" tIns="53340" rIns="26670" bIns="53340" numCol="1" spcCol="1270" anchor="ctr" anchorCtr="0">
                <a:no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pt-BR" kern="1200" dirty="0"/>
                  <a:t>1. Exclusão de todas as personalizações</a:t>
                </a:r>
              </a:p>
            </p:txBody>
          </p:sp>
        </p:grpSp>
        <p:grpSp>
          <p:nvGrpSpPr>
            <p:cNvPr id="61" name="Grupo 60"/>
            <p:cNvGrpSpPr/>
            <p:nvPr/>
          </p:nvGrpSpPr>
          <p:grpSpPr>
            <a:xfrm>
              <a:off x="5059511" y="5222627"/>
              <a:ext cx="3190347" cy="1276139"/>
              <a:chOff x="2553914" y="3829508"/>
              <a:chExt cx="3190347" cy="1276139"/>
            </a:xfrm>
          </p:grpSpPr>
          <p:sp>
            <p:nvSpPr>
              <p:cNvPr id="71" name="Divisa 70"/>
              <p:cNvSpPr/>
              <p:nvPr/>
            </p:nvSpPr>
            <p:spPr>
              <a:xfrm>
                <a:off x="2553914" y="3829508"/>
                <a:ext cx="3190347" cy="1276139"/>
              </a:xfrm>
              <a:prstGeom prst="chevron">
                <a:avLst/>
              </a:prstGeom>
              <a:solidFill>
                <a:schemeClr val="bg1">
                  <a:lumMod val="65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72" name="Divisa 6"/>
              <p:cNvSpPr/>
              <p:nvPr/>
            </p:nvSpPr>
            <p:spPr>
              <a:xfrm>
                <a:off x="3260965" y="3829508"/>
                <a:ext cx="1914208" cy="1276139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80010" tIns="53340" rIns="26670" bIns="53340" numCol="1" spcCol="1270" anchor="ctr" anchorCtr="0">
                <a:no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pt-BR" sz="2000" kern="1200" dirty="0"/>
                  <a:t>2. Exclusão dos módulos e formulários existentes </a:t>
                </a:r>
              </a:p>
            </p:txBody>
          </p:sp>
        </p:grpSp>
        <p:grpSp>
          <p:nvGrpSpPr>
            <p:cNvPr id="62" name="Grupo 61"/>
            <p:cNvGrpSpPr/>
            <p:nvPr/>
          </p:nvGrpSpPr>
          <p:grpSpPr>
            <a:xfrm>
              <a:off x="7611789" y="5222627"/>
              <a:ext cx="3190347" cy="1276139"/>
              <a:chOff x="5106192" y="3829508"/>
              <a:chExt cx="3190347" cy="1276139"/>
            </a:xfrm>
          </p:grpSpPr>
          <p:sp>
            <p:nvSpPr>
              <p:cNvPr id="69" name="Divisa 68"/>
              <p:cNvSpPr/>
              <p:nvPr/>
            </p:nvSpPr>
            <p:spPr>
              <a:xfrm>
                <a:off x="5106192" y="3829508"/>
                <a:ext cx="3190347" cy="1276139"/>
              </a:xfrm>
              <a:prstGeom prst="chevron">
                <a:avLst/>
              </a:prstGeom>
              <a:solidFill>
                <a:schemeClr val="bg1">
                  <a:lumMod val="65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70" name="Divisa 8"/>
              <p:cNvSpPr/>
              <p:nvPr/>
            </p:nvSpPr>
            <p:spPr>
              <a:xfrm>
                <a:off x="5909817" y="3829508"/>
                <a:ext cx="1914208" cy="1276139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80010" tIns="53340" rIns="26670" bIns="53340" numCol="1" spcCol="1270" anchor="ctr" anchorCtr="0">
                <a:no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pt-BR" sz="2000" kern="1200" dirty="0"/>
                  <a:t>3. Importação de novos módulos</a:t>
                </a:r>
              </a:p>
            </p:txBody>
          </p:sp>
        </p:grpSp>
        <p:grpSp>
          <p:nvGrpSpPr>
            <p:cNvPr id="63" name="Grupo 62"/>
            <p:cNvGrpSpPr/>
            <p:nvPr/>
          </p:nvGrpSpPr>
          <p:grpSpPr>
            <a:xfrm>
              <a:off x="10164067" y="5222627"/>
              <a:ext cx="3190347" cy="1276139"/>
              <a:chOff x="7658470" y="3829508"/>
              <a:chExt cx="3190347" cy="1276139"/>
            </a:xfrm>
          </p:grpSpPr>
          <p:sp>
            <p:nvSpPr>
              <p:cNvPr id="67" name="Divisa 66"/>
              <p:cNvSpPr/>
              <p:nvPr/>
            </p:nvSpPr>
            <p:spPr>
              <a:xfrm>
                <a:off x="7658470" y="3829508"/>
                <a:ext cx="3190347" cy="1276139"/>
              </a:xfrm>
              <a:prstGeom prst="chevron">
                <a:avLst/>
              </a:prstGeom>
              <a:solidFill>
                <a:schemeClr val="accent1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68" name="Divisa 10"/>
              <p:cNvSpPr/>
              <p:nvPr/>
            </p:nvSpPr>
            <p:spPr>
              <a:xfrm>
                <a:off x="8296540" y="3829508"/>
                <a:ext cx="1914208" cy="1276139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80010" tIns="53340" rIns="26670" bIns="53340" numCol="1" spcCol="1270" anchor="ctr" anchorCtr="0">
                <a:no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pt-BR" sz="2400" kern="1200" dirty="0"/>
                  <a:t>4. Importação da barra de ferramentas GSTI</a:t>
                </a:r>
              </a:p>
            </p:txBody>
          </p:sp>
        </p:grpSp>
        <p:grpSp>
          <p:nvGrpSpPr>
            <p:cNvPr id="64" name="Grupo 63"/>
            <p:cNvGrpSpPr/>
            <p:nvPr/>
          </p:nvGrpSpPr>
          <p:grpSpPr>
            <a:xfrm>
              <a:off x="12716346" y="5222627"/>
              <a:ext cx="3190347" cy="1276139"/>
              <a:chOff x="10210749" y="3829508"/>
              <a:chExt cx="3190347" cy="1276139"/>
            </a:xfrm>
          </p:grpSpPr>
          <p:sp>
            <p:nvSpPr>
              <p:cNvPr id="65" name="Divisa 64"/>
              <p:cNvSpPr/>
              <p:nvPr/>
            </p:nvSpPr>
            <p:spPr>
              <a:xfrm>
                <a:off x="10210749" y="3829508"/>
                <a:ext cx="3190347" cy="1276139"/>
              </a:xfrm>
              <a:prstGeom prst="chevron">
                <a:avLst/>
              </a:prstGeom>
              <a:solidFill>
                <a:schemeClr val="bg1">
                  <a:lumMod val="65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66" name="Divisa 12"/>
              <p:cNvSpPr/>
              <p:nvPr/>
            </p:nvSpPr>
            <p:spPr>
              <a:xfrm>
                <a:off x="11037625" y="3829508"/>
                <a:ext cx="1914208" cy="1276139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80010" tIns="53340" rIns="26670" bIns="53340" numCol="1" spcCol="1270" anchor="ctr" anchorCtr="0">
                <a:no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pt-BR" kern="1200" dirty="0"/>
                  <a:t>5. Marcar a </a:t>
                </a:r>
                <a:r>
                  <a:rPr lang="pt-BR" kern="1200" dirty="0" err="1"/>
                  <a:t>dll</a:t>
                </a:r>
                <a:r>
                  <a:rPr lang="pt-BR" kern="1200" dirty="0"/>
                  <a:t> do </a:t>
                </a:r>
                <a:r>
                  <a:rPr lang="pt-BR" kern="1200" dirty="0" err="1"/>
                  <a:t>excel</a:t>
                </a:r>
                <a:r>
                  <a:rPr lang="pt-BR" kern="1200" dirty="0"/>
                  <a:t>  dentro do Project</a:t>
                </a:r>
              </a:p>
            </p:txBody>
          </p:sp>
        </p:grpSp>
      </p:grpSp>
      <p:cxnSp>
        <p:nvCxnSpPr>
          <p:cNvPr id="35" name="Conector de seta reta 34"/>
          <p:cNvCxnSpPr>
            <a:stCxn id="36" idx="3"/>
            <a:endCxn id="31" idx="1"/>
          </p:cNvCxnSpPr>
          <p:nvPr/>
        </p:nvCxnSpPr>
        <p:spPr>
          <a:xfrm>
            <a:off x="14626717" y="9948529"/>
            <a:ext cx="883340" cy="18338"/>
          </a:xfrm>
          <a:prstGeom prst="straightConnector1">
            <a:avLst/>
          </a:prstGeom>
          <a:ln w="57150">
            <a:solidFill>
              <a:srgbClr val="FF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6" name="Retângulo 35"/>
          <p:cNvSpPr/>
          <p:nvPr/>
        </p:nvSpPr>
        <p:spPr>
          <a:xfrm>
            <a:off x="14111137" y="9576588"/>
            <a:ext cx="515580" cy="743882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4000" dirty="0"/>
              <a:t>2</a:t>
            </a:r>
          </a:p>
        </p:txBody>
      </p:sp>
      <p:sp>
        <p:nvSpPr>
          <p:cNvPr id="31" name="Retângulo 30"/>
          <p:cNvSpPr/>
          <p:nvPr/>
        </p:nvSpPr>
        <p:spPr>
          <a:xfrm>
            <a:off x="15510057" y="9831139"/>
            <a:ext cx="4191064" cy="271455"/>
          </a:xfrm>
          <a:prstGeom prst="rect">
            <a:avLst/>
          </a:prstGeom>
          <a:noFill/>
          <a:ln w="38100">
            <a:solidFill>
              <a:srgbClr val="FF0000"/>
            </a:solidFill>
            <a:prstDash val="sys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29" name="Retângulo de cantos arredondados 28"/>
          <p:cNvSpPr/>
          <p:nvPr/>
        </p:nvSpPr>
        <p:spPr>
          <a:xfrm>
            <a:off x="619002" y="4646563"/>
            <a:ext cx="5472608" cy="5673907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30" name="CaixaDeTexto 29"/>
          <p:cNvSpPr txBox="1"/>
          <p:nvPr/>
        </p:nvSpPr>
        <p:spPr>
          <a:xfrm>
            <a:off x="943038" y="4865777"/>
            <a:ext cx="5040560" cy="30931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pt-BR" sz="3600" dirty="0">
                <a:solidFill>
                  <a:srgbClr val="000000"/>
                </a:solidFill>
              </a:rPr>
              <a:t>Clicar em “Importar/Exportar”</a:t>
            </a:r>
          </a:p>
          <a:p>
            <a:pPr marL="342900" indent="-342900">
              <a:buFont typeface="+mj-lt"/>
              <a:buAutoNum type="arabicPeriod"/>
            </a:pPr>
            <a:endParaRPr lang="pt-BR" sz="1500" dirty="0">
              <a:solidFill>
                <a:srgbClr val="000000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pt-BR" sz="3600" dirty="0">
                <a:solidFill>
                  <a:srgbClr val="000000"/>
                </a:solidFill>
              </a:rPr>
              <a:t>Selecionar a opção “Importar arquivo de personalizações”</a:t>
            </a:r>
          </a:p>
        </p:txBody>
      </p:sp>
      <p:sp>
        <p:nvSpPr>
          <p:cNvPr id="32" name="Título 1"/>
          <p:cNvSpPr txBox="1">
            <a:spLocks/>
          </p:cNvSpPr>
          <p:nvPr/>
        </p:nvSpPr>
        <p:spPr>
          <a:xfrm>
            <a:off x="835028" y="4215234"/>
            <a:ext cx="5806557" cy="48013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47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936" kern="1200" baseline="0">
                <a:solidFill>
                  <a:srgbClr val="006067"/>
                </a:solidFill>
                <a:latin typeface="Agenda Medium" charset="0"/>
                <a:ea typeface="Agenda Medium" charset="0"/>
                <a:cs typeface="Agenda Medium" charset="0"/>
              </a:defRPr>
            </a:lvl1pPr>
          </a:lstStyle>
          <a:p>
            <a:r>
              <a:rPr lang="en-US" sz="2800" dirty="0">
                <a:solidFill>
                  <a:schemeClr val="accent5">
                    <a:lumMod val="50000"/>
                  </a:schemeClr>
                </a:solidFill>
                <a:latin typeface="+mn-lt"/>
              </a:rPr>
              <a:t>4.2)</a:t>
            </a:r>
            <a:r>
              <a:rPr lang="en-US" sz="2800" dirty="0" err="1">
                <a:solidFill>
                  <a:schemeClr val="accent5">
                    <a:lumMod val="50000"/>
                  </a:schemeClr>
                </a:solidFill>
                <a:latin typeface="+mn-lt"/>
              </a:rPr>
              <a:t>Importar</a:t>
            </a:r>
            <a:r>
              <a:rPr lang="en-US" sz="2800" dirty="0">
                <a:solidFill>
                  <a:schemeClr val="accent5">
                    <a:lumMod val="50000"/>
                  </a:schemeClr>
                </a:solidFill>
                <a:latin typeface="+mn-lt"/>
              </a:rPr>
              <a:t> </a:t>
            </a:r>
            <a:r>
              <a:rPr lang="en-US" sz="2800" dirty="0" err="1">
                <a:solidFill>
                  <a:schemeClr val="accent5">
                    <a:lumMod val="50000"/>
                  </a:schemeClr>
                </a:solidFill>
                <a:latin typeface="+mn-lt"/>
              </a:rPr>
              <a:t>arquivo</a:t>
            </a:r>
            <a:endParaRPr lang="en-US" sz="2800" dirty="0">
              <a:solidFill>
                <a:schemeClr val="accent5">
                  <a:lumMod val="50000"/>
                </a:schemeClr>
              </a:solidFill>
              <a:latin typeface="+mn-lt"/>
            </a:endParaRPr>
          </a:p>
        </p:txBody>
      </p:sp>
      <p:cxnSp>
        <p:nvCxnSpPr>
          <p:cNvPr id="40" name="Conector de seta reta 39"/>
          <p:cNvCxnSpPr/>
          <p:nvPr/>
        </p:nvCxnSpPr>
        <p:spPr>
          <a:xfrm flipH="1">
            <a:off x="17605589" y="8993307"/>
            <a:ext cx="622081" cy="485073"/>
          </a:xfrm>
          <a:prstGeom prst="straightConnector1">
            <a:avLst/>
          </a:prstGeom>
          <a:ln w="57150">
            <a:solidFill>
              <a:srgbClr val="FF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1" name="Retângulo 40"/>
          <p:cNvSpPr/>
          <p:nvPr/>
        </p:nvSpPr>
        <p:spPr>
          <a:xfrm>
            <a:off x="18116946" y="8318971"/>
            <a:ext cx="411159" cy="743882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4000" dirty="0"/>
              <a:t>1</a:t>
            </a:r>
          </a:p>
        </p:txBody>
      </p:sp>
      <p:sp>
        <p:nvSpPr>
          <p:cNvPr id="38" name="Retângulo 37"/>
          <p:cNvSpPr/>
          <p:nvPr/>
        </p:nvSpPr>
        <p:spPr>
          <a:xfrm>
            <a:off x="15510057" y="9415668"/>
            <a:ext cx="2095532" cy="271455"/>
          </a:xfrm>
          <a:prstGeom prst="rect">
            <a:avLst/>
          </a:prstGeom>
          <a:noFill/>
          <a:ln w="38100">
            <a:solidFill>
              <a:srgbClr val="FF0000"/>
            </a:solidFill>
            <a:prstDash val="sys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09875851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131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6997" y="4189655"/>
            <a:ext cx="9369708" cy="663043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graphicFrame>
        <p:nvGraphicFramePr>
          <p:cNvPr id="51" name="Objeto 50" hidden="1">
            <a:extLst>
              <a:ext uri="{FF2B5EF4-FFF2-40B4-BE49-F238E27FC236}">
                <a16:creationId xmlns:a16="http://schemas.microsoft.com/office/drawing/2014/main" id="{7E65BC4C-0858-4F13-A045-BAC5EB65DAD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6" imgW="317" imgH="318" progId="TCLayout.ActiveDocument.1">
                  <p:embed/>
                </p:oleObj>
              </mc:Choice>
              <mc:Fallback>
                <p:oleObj name="Slide do think-cell" r:id="rId6" imgW="317" imgH="318" progId="TCLayout.ActiveDocument.1">
                  <p:embed/>
                  <p:pic>
                    <p:nvPicPr>
                      <p:cNvPr id="51" name="Objeto 50" hidden="1">
                        <a:extLst>
                          <a:ext uri="{FF2B5EF4-FFF2-40B4-BE49-F238E27FC236}">
                            <a16:creationId xmlns:a16="http://schemas.microsoft.com/office/drawing/2014/main" id="{7E65BC4C-0858-4F13-A045-BAC5EB65DA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Retângulo 49" hidden="1">
            <a:extLst>
              <a:ext uri="{FF2B5EF4-FFF2-40B4-BE49-F238E27FC236}">
                <a16:creationId xmlns:a16="http://schemas.microsoft.com/office/drawing/2014/main" id="{B6FD34B5-13C2-49BE-8AF2-FCDC4689AF2B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000">
              <a:latin typeface="Calibri" panose="020F0502020204030204" pitchFamily="34" charset="0"/>
              <a:sym typeface="+mn-lt"/>
            </a:endParaRPr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9CB7E9B1-69E0-4E6D-BF67-AE78100CC5D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9485098" y="10669637"/>
            <a:ext cx="720080" cy="601662"/>
          </a:xfrm>
        </p:spPr>
        <p:txBody>
          <a:bodyPr/>
          <a:lstStyle/>
          <a:p>
            <a:fld id="{BE418F81-F092-F643-8EAE-268022441A30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9" name="Título 1"/>
          <p:cNvSpPr>
            <a:spLocks noGrp="1"/>
          </p:cNvSpPr>
          <p:nvPr>
            <p:ph type="title"/>
          </p:nvPr>
        </p:nvSpPr>
        <p:spPr>
          <a:xfrm>
            <a:off x="546994" y="758131"/>
            <a:ext cx="17058188" cy="840230"/>
          </a:xfrm>
        </p:spPr>
        <p:txBody>
          <a:bodyPr/>
          <a:lstStyle/>
          <a:p>
            <a:r>
              <a:rPr lang="en-US" sz="5400" dirty="0" err="1">
                <a:solidFill>
                  <a:schemeClr val="accent5">
                    <a:lumMod val="50000"/>
                  </a:schemeClr>
                </a:solidFill>
              </a:rPr>
              <a:t>Instalação</a:t>
            </a:r>
            <a:r>
              <a:rPr lang="en-US" sz="5400" dirty="0">
                <a:solidFill>
                  <a:schemeClr val="accent5">
                    <a:lumMod val="50000"/>
                  </a:schemeClr>
                </a:solidFill>
              </a:rPr>
              <a:t> da Barra de </a:t>
            </a:r>
            <a:r>
              <a:rPr lang="en-US" sz="5400" dirty="0" err="1">
                <a:solidFill>
                  <a:schemeClr val="accent5">
                    <a:lumMod val="50000"/>
                  </a:schemeClr>
                </a:solidFill>
              </a:rPr>
              <a:t>Ferramentas</a:t>
            </a:r>
            <a:r>
              <a:rPr lang="en-US" sz="5400" dirty="0">
                <a:solidFill>
                  <a:schemeClr val="accent5">
                    <a:lumMod val="50000"/>
                  </a:schemeClr>
                </a:solidFill>
              </a:rPr>
              <a:t> do GSTI </a:t>
            </a:r>
          </a:p>
        </p:txBody>
      </p:sp>
      <p:grpSp>
        <p:nvGrpSpPr>
          <p:cNvPr id="12" name="Grupo 11"/>
          <p:cNvGrpSpPr/>
          <p:nvPr/>
        </p:nvGrpSpPr>
        <p:grpSpPr>
          <a:xfrm>
            <a:off x="2635225" y="2054275"/>
            <a:ext cx="13321480" cy="1728192"/>
            <a:chOff x="2507233" y="5222627"/>
            <a:chExt cx="13399460" cy="1276139"/>
          </a:xfrm>
        </p:grpSpPr>
        <p:grpSp>
          <p:nvGrpSpPr>
            <p:cNvPr id="60" name="Grupo 59"/>
            <p:cNvGrpSpPr/>
            <p:nvPr/>
          </p:nvGrpSpPr>
          <p:grpSpPr>
            <a:xfrm>
              <a:off x="2507233" y="5222627"/>
              <a:ext cx="3190347" cy="1276139"/>
              <a:chOff x="1636" y="3829508"/>
              <a:chExt cx="3190347" cy="1276139"/>
            </a:xfrm>
          </p:grpSpPr>
          <p:sp>
            <p:nvSpPr>
              <p:cNvPr id="73" name="Pentágono 72"/>
              <p:cNvSpPr/>
              <p:nvPr/>
            </p:nvSpPr>
            <p:spPr>
              <a:xfrm>
                <a:off x="1636" y="3829508"/>
                <a:ext cx="3190347" cy="1276139"/>
              </a:xfrm>
              <a:prstGeom prst="homePlate">
                <a:avLst/>
              </a:prstGeom>
              <a:solidFill>
                <a:schemeClr val="bg1">
                  <a:lumMod val="65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74" name="Pentágono 4"/>
              <p:cNvSpPr/>
              <p:nvPr/>
            </p:nvSpPr>
            <p:spPr>
              <a:xfrm>
                <a:off x="1636" y="3829508"/>
                <a:ext cx="2871312" cy="1276139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106680" tIns="53340" rIns="26670" bIns="53340" numCol="1" spcCol="1270" anchor="ctr" anchorCtr="0">
                <a:no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pt-BR" kern="1200" dirty="0"/>
                  <a:t>1. Exclusão de todas as personalizações</a:t>
                </a:r>
              </a:p>
            </p:txBody>
          </p:sp>
        </p:grpSp>
        <p:grpSp>
          <p:nvGrpSpPr>
            <p:cNvPr id="61" name="Grupo 60"/>
            <p:cNvGrpSpPr/>
            <p:nvPr/>
          </p:nvGrpSpPr>
          <p:grpSpPr>
            <a:xfrm>
              <a:off x="5059511" y="5222627"/>
              <a:ext cx="3190347" cy="1276139"/>
              <a:chOff x="2553914" y="3829508"/>
              <a:chExt cx="3190347" cy="1276139"/>
            </a:xfrm>
          </p:grpSpPr>
          <p:sp>
            <p:nvSpPr>
              <p:cNvPr id="71" name="Divisa 70"/>
              <p:cNvSpPr/>
              <p:nvPr/>
            </p:nvSpPr>
            <p:spPr>
              <a:xfrm>
                <a:off x="2553914" y="3829508"/>
                <a:ext cx="3190347" cy="1276139"/>
              </a:xfrm>
              <a:prstGeom prst="chevron">
                <a:avLst/>
              </a:prstGeom>
              <a:solidFill>
                <a:schemeClr val="bg1">
                  <a:lumMod val="65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72" name="Divisa 6"/>
              <p:cNvSpPr/>
              <p:nvPr/>
            </p:nvSpPr>
            <p:spPr>
              <a:xfrm>
                <a:off x="3260965" y="3829508"/>
                <a:ext cx="1914208" cy="1276139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80010" tIns="53340" rIns="26670" bIns="53340" numCol="1" spcCol="1270" anchor="ctr" anchorCtr="0">
                <a:no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pt-BR" sz="2000" kern="1200" dirty="0"/>
                  <a:t>2. Exclusão dos módulos e formulários existentes </a:t>
                </a:r>
              </a:p>
            </p:txBody>
          </p:sp>
        </p:grpSp>
        <p:grpSp>
          <p:nvGrpSpPr>
            <p:cNvPr id="62" name="Grupo 61"/>
            <p:cNvGrpSpPr/>
            <p:nvPr/>
          </p:nvGrpSpPr>
          <p:grpSpPr>
            <a:xfrm>
              <a:off x="7611789" y="5222627"/>
              <a:ext cx="3190347" cy="1276139"/>
              <a:chOff x="5106192" y="3829508"/>
              <a:chExt cx="3190347" cy="1276139"/>
            </a:xfrm>
          </p:grpSpPr>
          <p:sp>
            <p:nvSpPr>
              <p:cNvPr id="69" name="Divisa 68"/>
              <p:cNvSpPr/>
              <p:nvPr/>
            </p:nvSpPr>
            <p:spPr>
              <a:xfrm>
                <a:off x="5106192" y="3829508"/>
                <a:ext cx="3190347" cy="1276139"/>
              </a:xfrm>
              <a:prstGeom prst="chevron">
                <a:avLst/>
              </a:prstGeom>
              <a:solidFill>
                <a:schemeClr val="bg1">
                  <a:lumMod val="65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70" name="Divisa 8"/>
              <p:cNvSpPr/>
              <p:nvPr/>
            </p:nvSpPr>
            <p:spPr>
              <a:xfrm>
                <a:off x="5909817" y="3829508"/>
                <a:ext cx="1914208" cy="1276139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80010" tIns="53340" rIns="26670" bIns="53340" numCol="1" spcCol="1270" anchor="ctr" anchorCtr="0">
                <a:no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pt-BR" sz="2000" kern="1200" dirty="0"/>
                  <a:t>3. Importação de novos módulos</a:t>
                </a:r>
              </a:p>
            </p:txBody>
          </p:sp>
        </p:grpSp>
        <p:grpSp>
          <p:nvGrpSpPr>
            <p:cNvPr id="63" name="Grupo 62"/>
            <p:cNvGrpSpPr/>
            <p:nvPr/>
          </p:nvGrpSpPr>
          <p:grpSpPr>
            <a:xfrm>
              <a:off x="10164067" y="5222627"/>
              <a:ext cx="3190347" cy="1276139"/>
              <a:chOff x="7658470" y="3829508"/>
              <a:chExt cx="3190347" cy="1276139"/>
            </a:xfrm>
          </p:grpSpPr>
          <p:sp>
            <p:nvSpPr>
              <p:cNvPr id="67" name="Divisa 66"/>
              <p:cNvSpPr/>
              <p:nvPr/>
            </p:nvSpPr>
            <p:spPr>
              <a:xfrm>
                <a:off x="7658470" y="3829508"/>
                <a:ext cx="3190347" cy="1276139"/>
              </a:xfrm>
              <a:prstGeom prst="chevron">
                <a:avLst/>
              </a:prstGeom>
              <a:solidFill>
                <a:schemeClr val="accent1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68" name="Divisa 10"/>
              <p:cNvSpPr/>
              <p:nvPr/>
            </p:nvSpPr>
            <p:spPr>
              <a:xfrm>
                <a:off x="8296540" y="3829508"/>
                <a:ext cx="1914208" cy="1276139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80010" tIns="53340" rIns="26670" bIns="53340" numCol="1" spcCol="1270" anchor="ctr" anchorCtr="0">
                <a:no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pt-BR" sz="2400" kern="1200" dirty="0"/>
                  <a:t>4. Importação da barra de ferramentas GSTI</a:t>
                </a:r>
              </a:p>
            </p:txBody>
          </p:sp>
        </p:grpSp>
        <p:grpSp>
          <p:nvGrpSpPr>
            <p:cNvPr id="64" name="Grupo 63"/>
            <p:cNvGrpSpPr/>
            <p:nvPr/>
          </p:nvGrpSpPr>
          <p:grpSpPr>
            <a:xfrm>
              <a:off x="12716346" y="5222627"/>
              <a:ext cx="3190347" cy="1276139"/>
              <a:chOff x="10210749" y="3829508"/>
              <a:chExt cx="3190347" cy="1276139"/>
            </a:xfrm>
          </p:grpSpPr>
          <p:sp>
            <p:nvSpPr>
              <p:cNvPr id="65" name="Divisa 64"/>
              <p:cNvSpPr/>
              <p:nvPr/>
            </p:nvSpPr>
            <p:spPr>
              <a:xfrm>
                <a:off x="10210749" y="3829508"/>
                <a:ext cx="3190347" cy="1276139"/>
              </a:xfrm>
              <a:prstGeom prst="chevron">
                <a:avLst/>
              </a:prstGeom>
              <a:solidFill>
                <a:schemeClr val="bg1">
                  <a:lumMod val="65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66" name="Divisa 12"/>
              <p:cNvSpPr/>
              <p:nvPr/>
            </p:nvSpPr>
            <p:spPr>
              <a:xfrm>
                <a:off x="11037625" y="3829508"/>
                <a:ext cx="1914208" cy="1276139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80010" tIns="53340" rIns="26670" bIns="53340" numCol="1" spcCol="1270" anchor="ctr" anchorCtr="0">
                <a:no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pt-BR" kern="1200" dirty="0"/>
                  <a:t>5. Marcar a </a:t>
                </a:r>
                <a:r>
                  <a:rPr lang="pt-BR" kern="1200" dirty="0" err="1"/>
                  <a:t>dll</a:t>
                </a:r>
                <a:r>
                  <a:rPr lang="pt-BR" kern="1200" dirty="0"/>
                  <a:t> do </a:t>
                </a:r>
                <a:r>
                  <a:rPr lang="pt-BR" kern="1200" dirty="0" err="1"/>
                  <a:t>excel</a:t>
                </a:r>
                <a:r>
                  <a:rPr lang="pt-BR" kern="1200" dirty="0"/>
                  <a:t>  dentro do Project</a:t>
                </a:r>
              </a:p>
            </p:txBody>
          </p:sp>
        </p:grpSp>
      </p:grpSp>
      <p:cxnSp>
        <p:nvCxnSpPr>
          <p:cNvPr id="35" name="Conector de seta reta 34"/>
          <p:cNvCxnSpPr>
            <a:stCxn id="36" idx="1"/>
            <a:endCxn id="31" idx="3"/>
          </p:cNvCxnSpPr>
          <p:nvPr/>
        </p:nvCxnSpPr>
        <p:spPr>
          <a:xfrm flipH="1" flipV="1">
            <a:off x="12212290" y="6455052"/>
            <a:ext cx="1663203" cy="677881"/>
          </a:xfrm>
          <a:prstGeom prst="straightConnector1">
            <a:avLst/>
          </a:prstGeom>
          <a:ln w="57150">
            <a:solidFill>
              <a:srgbClr val="FF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6" name="Retângulo 35"/>
          <p:cNvSpPr/>
          <p:nvPr/>
        </p:nvSpPr>
        <p:spPr>
          <a:xfrm>
            <a:off x="13875493" y="6760992"/>
            <a:ext cx="515580" cy="743882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4000" dirty="0"/>
              <a:t>2</a:t>
            </a:r>
          </a:p>
        </p:txBody>
      </p:sp>
      <p:sp>
        <p:nvSpPr>
          <p:cNvPr id="31" name="Retângulo 30"/>
          <p:cNvSpPr/>
          <p:nvPr/>
        </p:nvSpPr>
        <p:spPr>
          <a:xfrm>
            <a:off x="8933205" y="6319324"/>
            <a:ext cx="3279085" cy="271455"/>
          </a:xfrm>
          <a:prstGeom prst="rect">
            <a:avLst/>
          </a:prstGeom>
          <a:noFill/>
          <a:ln w="38100">
            <a:solidFill>
              <a:srgbClr val="FF0000"/>
            </a:solidFill>
            <a:prstDash val="sys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29" name="Retângulo de cantos arredondados 28"/>
          <p:cNvSpPr/>
          <p:nvPr/>
        </p:nvSpPr>
        <p:spPr>
          <a:xfrm>
            <a:off x="619002" y="4646563"/>
            <a:ext cx="5472608" cy="5673907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30" name="CaixaDeTexto 29"/>
          <p:cNvSpPr txBox="1"/>
          <p:nvPr/>
        </p:nvSpPr>
        <p:spPr>
          <a:xfrm>
            <a:off x="943038" y="4850968"/>
            <a:ext cx="5040560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pt-BR" sz="3600" dirty="0">
                <a:solidFill>
                  <a:srgbClr val="000000"/>
                </a:solidFill>
              </a:rPr>
              <a:t>Acessar pasta</a:t>
            </a:r>
          </a:p>
          <a:p>
            <a:pPr marL="342900" indent="-342900">
              <a:buFont typeface="+mj-lt"/>
              <a:buAutoNum type="arabicPeriod"/>
            </a:pPr>
            <a:endParaRPr lang="pt-BR" sz="1500" dirty="0">
              <a:solidFill>
                <a:srgbClr val="000000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pt-BR" sz="3600" dirty="0">
                <a:solidFill>
                  <a:srgbClr val="000000"/>
                </a:solidFill>
              </a:rPr>
              <a:t>Selecionar Arquivo “</a:t>
            </a:r>
            <a:r>
              <a:rPr lang="pt-BR" sz="3600" dirty="0" err="1">
                <a:solidFill>
                  <a:srgbClr val="000000"/>
                </a:solidFill>
              </a:rPr>
              <a:t>Barra_PMO_GSTI_CBMM</a:t>
            </a:r>
            <a:r>
              <a:rPr lang="pt-BR" sz="3600" dirty="0">
                <a:solidFill>
                  <a:srgbClr val="000000"/>
                </a:solidFill>
              </a:rPr>
              <a:t>”</a:t>
            </a:r>
          </a:p>
          <a:p>
            <a:pPr marL="342900" indent="-342900">
              <a:buFont typeface="+mj-lt"/>
              <a:buAutoNum type="arabicPeriod"/>
            </a:pPr>
            <a:endParaRPr lang="pt-BR" sz="1500" dirty="0">
              <a:solidFill>
                <a:srgbClr val="000000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pt-BR" sz="3600" dirty="0">
                <a:solidFill>
                  <a:srgbClr val="000000"/>
                </a:solidFill>
              </a:rPr>
              <a:t>Clicar em abri</a:t>
            </a:r>
          </a:p>
        </p:txBody>
      </p:sp>
      <p:sp>
        <p:nvSpPr>
          <p:cNvPr id="32" name="Título 1"/>
          <p:cNvSpPr txBox="1">
            <a:spLocks/>
          </p:cNvSpPr>
          <p:nvPr/>
        </p:nvSpPr>
        <p:spPr>
          <a:xfrm>
            <a:off x="835028" y="4215234"/>
            <a:ext cx="5806557" cy="48013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47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936" kern="1200" baseline="0">
                <a:solidFill>
                  <a:srgbClr val="006067"/>
                </a:solidFill>
                <a:latin typeface="Agenda Medium" charset="0"/>
                <a:ea typeface="Agenda Medium" charset="0"/>
                <a:cs typeface="Agenda Medium" charset="0"/>
              </a:defRPr>
            </a:lvl1pPr>
          </a:lstStyle>
          <a:p>
            <a:r>
              <a:rPr lang="en-US" sz="2800" dirty="0">
                <a:solidFill>
                  <a:schemeClr val="accent5">
                    <a:lumMod val="50000"/>
                  </a:schemeClr>
                </a:solidFill>
                <a:latin typeface="+mn-lt"/>
              </a:rPr>
              <a:t>4.3)</a:t>
            </a:r>
            <a:r>
              <a:rPr lang="en-US" sz="2800" dirty="0" err="1">
                <a:solidFill>
                  <a:schemeClr val="accent5">
                    <a:lumMod val="50000"/>
                  </a:schemeClr>
                </a:solidFill>
                <a:latin typeface="+mn-lt"/>
              </a:rPr>
              <a:t>Selecionar</a:t>
            </a:r>
            <a:r>
              <a:rPr lang="en-US" sz="2800" dirty="0">
                <a:solidFill>
                  <a:schemeClr val="accent5">
                    <a:lumMod val="50000"/>
                  </a:schemeClr>
                </a:solidFill>
                <a:latin typeface="+mn-lt"/>
              </a:rPr>
              <a:t> </a:t>
            </a:r>
            <a:r>
              <a:rPr lang="en-US" sz="2800" dirty="0" err="1">
                <a:solidFill>
                  <a:schemeClr val="accent5">
                    <a:lumMod val="50000"/>
                  </a:schemeClr>
                </a:solidFill>
                <a:latin typeface="+mn-lt"/>
              </a:rPr>
              <a:t>arquivo</a:t>
            </a:r>
            <a:endParaRPr lang="en-US" sz="2800" dirty="0">
              <a:solidFill>
                <a:schemeClr val="accent5">
                  <a:lumMod val="50000"/>
                </a:schemeClr>
              </a:solidFill>
              <a:latin typeface="+mn-lt"/>
            </a:endParaRPr>
          </a:p>
        </p:txBody>
      </p:sp>
      <p:cxnSp>
        <p:nvCxnSpPr>
          <p:cNvPr id="40" name="Conector de seta reta 39"/>
          <p:cNvCxnSpPr/>
          <p:nvPr/>
        </p:nvCxnSpPr>
        <p:spPr>
          <a:xfrm flipH="1" flipV="1">
            <a:off x="11833390" y="4889099"/>
            <a:ext cx="622080" cy="333528"/>
          </a:xfrm>
          <a:prstGeom prst="straightConnector1">
            <a:avLst/>
          </a:prstGeom>
          <a:ln w="57150">
            <a:solidFill>
              <a:srgbClr val="FF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1" name="Retângulo 40"/>
          <p:cNvSpPr/>
          <p:nvPr/>
        </p:nvSpPr>
        <p:spPr>
          <a:xfrm>
            <a:off x="12347170" y="4780645"/>
            <a:ext cx="411159" cy="743882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4000" dirty="0"/>
              <a:t>1</a:t>
            </a:r>
          </a:p>
        </p:txBody>
      </p:sp>
      <p:sp>
        <p:nvSpPr>
          <p:cNvPr id="38" name="Retângulo 37"/>
          <p:cNvSpPr/>
          <p:nvPr/>
        </p:nvSpPr>
        <p:spPr>
          <a:xfrm>
            <a:off x="10196066" y="4719383"/>
            <a:ext cx="1609304" cy="271455"/>
          </a:xfrm>
          <a:prstGeom prst="rect">
            <a:avLst/>
          </a:prstGeom>
          <a:noFill/>
          <a:ln w="38100">
            <a:solidFill>
              <a:srgbClr val="FF0000"/>
            </a:solidFill>
            <a:prstDash val="sys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cxnSp>
        <p:nvCxnSpPr>
          <p:cNvPr id="42" name="Conector de seta reta 41"/>
          <p:cNvCxnSpPr>
            <a:stCxn id="43" idx="2"/>
            <a:endCxn id="44" idx="0"/>
          </p:cNvCxnSpPr>
          <p:nvPr/>
        </p:nvCxnSpPr>
        <p:spPr>
          <a:xfrm flipH="1">
            <a:off x="13667840" y="9278877"/>
            <a:ext cx="675335" cy="1041593"/>
          </a:xfrm>
          <a:prstGeom prst="straightConnector1">
            <a:avLst/>
          </a:prstGeom>
          <a:ln w="57150">
            <a:solidFill>
              <a:srgbClr val="FF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3" name="Retângulo 42"/>
          <p:cNvSpPr/>
          <p:nvPr/>
        </p:nvSpPr>
        <p:spPr>
          <a:xfrm>
            <a:off x="14085385" y="8534995"/>
            <a:ext cx="515580" cy="743882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4000" dirty="0"/>
              <a:t>3</a:t>
            </a:r>
          </a:p>
        </p:txBody>
      </p:sp>
      <p:sp>
        <p:nvSpPr>
          <p:cNvPr id="44" name="Retângulo 43"/>
          <p:cNvSpPr/>
          <p:nvPr/>
        </p:nvSpPr>
        <p:spPr>
          <a:xfrm>
            <a:off x="13004378" y="10320470"/>
            <a:ext cx="1326924" cy="271455"/>
          </a:xfrm>
          <a:prstGeom prst="rect">
            <a:avLst/>
          </a:prstGeom>
          <a:noFill/>
          <a:ln w="38100">
            <a:solidFill>
              <a:srgbClr val="FF0000"/>
            </a:solidFill>
            <a:prstDash val="sys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70281325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Picture 2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501" t="31987" r="13785" b="8598"/>
          <a:stretch/>
        </p:blipFill>
        <p:spPr bwMode="auto">
          <a:xfrm>
            <a:off x="6598409" y="4195921"/>
            <a:ext cx="12869714" cy="664333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graphicFrame>
        <p:nvGraphicFramePr>
          <p:cNvPr id="51" name="Objeto 50" hidden="1">
            <a:extLst>
              <a:ext uri="{FF2B5EF4-FFF2-40B4-BE49-F238E27FC236}">
                <a16:creationId xmlns:a16="http://schemas.microsoft.com/office/drawing/2014/main" id="{7E65BC4C-0858-4F13-A045-BAC5EB65DAD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6" imgW="317" imgH="318" progId="TCLayout.ActiveDocument.1">
                  <p:embed/>
                </p:oleObj>
              </mc:Choice>
              <mc:Fallback>
                <p:oleObj name="Slide do think-cell" r:id="rId6" imgW="317" imgH="318" progId="TCLayout.ActiveDocument.1">
                  <p:embed/>
                  <p:pic>
                    <p:nvPicPr>
                      <p:cNvPr id="51" name="Objeto 50" hidden="1">
                        <a:extLst>
                          <a:ext uri="{FF2B5EF4-FFF2-40B4-BE49-F238E27FC236}">
                            <a16:creationId xmlns:a16="http://schemas.microsoft.com/office/drawing/2014/main" id="{7E65BC4C-0858-4F13-A045-BAC5EB65DA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Retângulo 49" hidden="1">
            <a:extLst>
              <a:ext uri="{FF2B5EF4-FFF2-40B4-BE49-F238E27FC236}">
                <a16:creationId xmlns:a16="http://schemas.microsoft.com/office/drawing/2014/main" id="{B6FD34B5-13C2-49BE-8AF2-FCDC4689AF2B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000">
              <a:latin typeface="Calibri" panose="020F0502020204030204" pitchFamily="34" charset="0"/>
              <a:sym typeface="+mn-lt"/>
            </a:endParaRPr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9CB7E9B1-69E0-4E6D-BF67-AE78100CC5D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9485098" y="10669637"/>
            <a:ext cx="720080" cy="601662"/>
          </a:xfrm>
        </p:spPr>
        <p:txBody>
          <a:bodyPr/>
          <a:lstStyle/>
          <a:p>
            <a:fld id="{BE418F81-F092-F643-8EAE-268022441A30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9" name="Título 1"/>
          <p:cNvSpPr>
            <a:spLocks noGrp="1"/>
          </p:cNvSpPr>
          <p:nvPr>
            <p:ph type="title"/>
          </p:nvPr>
        </p:nvSpPr>
        <p:spPr>
          <a:xfrm>
            <a:off x="546994" y="758131"/>
            <a:ext cx="17058188" cy="840230"/>
          </a:xfrm>
        </p:spPr>
        <p:txBody>
          <a:bodyPr/>
          <a:lstStyle/>
          <a:p>
            <a:r>
              <a:rPr lang="en-US" sz="5400" dirty="0" err="1">
                <a:solidFill>
                  <a:schemeClr val="accent5">
                    <a:lumMod val="50000"/>
                  </a:schemeClr>
                </a:solidFill>
              </a:rPr>
              <a:t>Instalação</a:t>
            </a:r>
            <a:r>
              <a:rPr lang="en-US" sz="5400" dirty="0">
                <a:solidFill>
                  <a:schemeClr val="accent5">
                    <a:lumMod val="50000"/>
                  </a:schemeClr>
                </a:solidFill>
              </a:rPr>
              <a:t> da Barra de </a:t>
            </a:r>
            <a:r>
              <a:rPr lang="en-US" sz="5400" dirty="0" err="1">
                <a:solidFill>
                  <a:schemeClr val="accent5">
                    <a:lumMod val="50000"/>
                  </a:schemeClr>
                </a:solidFill>
              </a:rPr>
              <a:t>Ferramentas</a:t>
            </a:r>
            <a:r>
              <a:rPr lang="en-US" sz="5400" dirty="0">
                <a:solidFill>
                  <a:schemeClr val="accent5">
                    <a:lumMod val="50000"/>
                  </a:schemeClr>
                </a:solidFill>
              </a:rPr>
              <a:t> do GSTI </a:t>
            </a:r>
          </a:p>
        </p:txBody>
      </p:sp>
      <p:grpSp>
        <p:nvGrpSpPr>
          <p:cNvPr id="12" name="Grupo 11"/>
          <p:cNvGrpSpPr/>
          <p:nvPr/>
        </p:nvGrpSpPr>
        <p:grpSpPr>
          <a:xfrm>
            <a:off x="2635225" y="2054275"/>
            <a:ext cx="13321480" cy="1728192"/>
            <a:chOff x="2507233" y="5222627"/>
            <a:chExt cx="13399460" cy="1276139"/>
          </a:xfrm>
        </p:grpSpPr>
        <p:grpSp>
          <p:nvGrpSpPr>
            <p:cNvPr id="60" name="Grupo 59"/>
            <p:cNvGrpSpPr/>
            <p:nvPr/>
          </p:nvGrpSpPr>
          <p:grpSpPr>
            <a:xfrm>
              <a:off x="2507233" y="5222627"/>
              <a:ext cx="3190347" cy="1276139"/>
              <a:chOff x="1636" y="3829508"/>
              <a:chExt cx="3190347" cy="1276139"/>
            </a:xfrm>
          </p:grpSpPr>
          <p:sp>
            <p:nvSpPr>
              <p:cNvPr id="73" name="Pentágono 72"/>
              <p:cNvSpPr/>
              <p:nvPr/>
            </p:nvSpPr>
            <p:spPr>
              <a:xfrm>
                <a:off x="1636" y="3829508"/>
                <a:ext cx="3190347" cy="1276139"/>
              </a:xfrm>
              <a:prstGeom prst="homePlate">
                <a:avLst/>
              </a:prstGeom>
              <a:solidFill>
                <a:schemeClr val="bg1">
                  <a:lumMod val="65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74" name="Pentágono 4"/>
              <p:cNvSpPr/>
              <p:nvPr/>
            </p:nvSpPr>
            <p:spPr>
              <a:xfrm>
                <a:off x="1636" y="3829508"/>
                <a:ext cx="2871312" cy="1276139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106680" tIns="53340" rIns="26670" bIns="53340" numCol="1" spcCol="1270" anchor="ctr" anchorCtr="0">
                <a:no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pt-BR" kern="1200" dirty="0"/>
                  <a:t>1. Exclusão de todas as personalizações</a:t>
                </a:r>
              </a:p>
            </p:txBody>
          </p:sp>
        </p:grpSp>
        <p:grpSp>
          <p:nvGrpSpPr>
            <p:cNvPr id="61" name="Grupo 60"/>
            <p:cNvGrpSpPr/>
            <p:nvPr/>
          </p:nvGrpSpPr>
          <p:grpSpPr>
            <a:xfrm>
              <a:off x="5059511" y="5222627"/>
              <a:ext cx="3190347" cy="1276139"/>
              <a:chOff x="2553914" y="3829508"/>
              <a:chExt cx="3190347" cy="1276139"/>
            </a:xfrm>
          </p:grpSpPr>
          <p:sp>
            <p:nvSpPr>
              <p:cNvPr id="71" name="Divisa 70"/>
              <p:cNvSpPr/>
              <p:nvPr/>
            </p:nvSpPr>
            <p:spPr>
              <a:xfrm>
                <a:off x="2553914" y="3829508"/>
                <a:ext cx="3190347" cy="1276139"/>
              </a:xfrm>
              <a:prstGeom prst="chevron">
                <a:avLst/>
              </a:prstGeom>
              <a:solidFill>
                <a:schemeClr val="bg1">
                  <a:lumMod val="65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72" name="Divisa 6"/>
              <p:cNvSpPr/>
              <p:nvPr/>
            </p:nvSpPr>
            <p:spPr>
              <a:xfrm>
                <a:off x="3260965" y="3829508"/>
                <a:ext cx="1914208" cy="1276139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80010" tIns="53340" rIns="26670" bIns="53340" numCol="1" spcCol="1270" anchor="ctr" anchorCtr="0">
                <a:no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pt-BR" sz="2000" kern="1200" dirty="0"/>
                  <a:t>2. Exclusão dos módulos e formulários existentes </a:t>
                </a:r>
              </a:p>
            </p:txBody>
          </p:sp>
        </p:grpSp>
        <p:grpSp>
          <p:nvGrpSpPr>
            <p:cNvPr id="62" name="Grupo 61"/>
            <p:cNvGrpSpPr/>
            <p:nvPr/>
          </p:nvGrpSpPr>
          <p:grpSpPr>
            <a:xfrm>
              <a:off x="7611789" y="5222627"/>
              <a:ext cx="3190347" cy="1276139"/>
              <a:chOff x="5106192" y="3829508"/>
              <a:chExt cx="3190347" cy="1276139"/>
            </a:xfrm>
          </p:grpSpPr>
          <p:sp>
            <p:nvSpPr>
              <p:cNvPr id="69" name="Divisa 68"/>
              <p:cNvSpPr/>
              <p:nvPr/>
            </p:nvSpPr>
            <p:spPr>
              <a:xfrm>
                <a:off x="5106192" y="3829508"/>
                <a:ext cx="3190347" cy="1276139"/>
              </a:xfrm>
              <a:prstGeom prst="chevron">
                <a:avLst/>
              </a:prstGeom>
              <a:solidFill>
                <a:schemeClr val="bg1">
                  <a:lumMod val="65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70" name="Divisa 8"/>
              <p:cNvSpPr/>
              <p:nvPr/>
            </p:nvSpPr>
            <p:spPr>
              <a:xfrm>
                <a:off x="5909817" y="3829508"/>
                <a:ext cx="1914208" cy="1276139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80010" tIns="53340" rIns="26670" bIns="53340" numCol="1" spcCol="1270" anchor="ctr" anchorCtr="0">
                <a:no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pt-BR" sz="2000" kern="1200" dirty="0"/>
                  <a:t>3. Importação de novos módulos</a:t>
                </a:r>
              </a:p>
            </p:txBody>
          </p:sp>
        </p:grpSp>
        <p:grpSp>
          <p:nvGrpSpPr>
            <p:cNvPr id="63" name="Grupo 62"/>
            <p:cNvGrpSpPr/>
            <p:nvPr/>
          </p:nvGrpSpPr>
          <p:grpSpPr>
            <a:xfrm>
              <a:off x="10164067" y="5222627"/>
              <a:ext cx="3190347" cy="1276139"/>
              <a:chOff x="7658470" y="3829508"/>
              <a:chExt cx="3190347" cy="1276139"/>
            </a:xfrm>
          </p:grpSpPr>
          <p:sp>
            <p:nvSpPr>
              <p:cNvPr id="67" name="Divisa 66"/>
              <p:cNvSpPr/>
              <p:nvPr/>
            </p:nvSpPr>
            <p:spPr>
              <a:xfrm>
                <a:off x="7658470" y="3829508"/>
                <a:ext cx="3190347" cy="1276139"/>
              </a:xfrm>
              <a:prstGeom prst="chevron">
                <a:avLst/>
              </a:prstGeom>
              <a:solidFill>
                <a:schemeClr val="accent1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68" name="Divisa 10"/>
              <p:cNvSpPr/>
              <p:nvPr/>
            </p:nvSpPr>
            <p:spPr>
              <a:xfrm>
                <a:off x="8296540" y="3829508"/>
                <a:ext cx="1914208" cy="1276139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80010" tIns="53340" rIns="26670" bIns="53340" numCol="1" spcCol="1270" anchor="ctr" anchorCtr="0">
                <a:no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pt-BR" sz="2400" kern="1200" dirty="0"/>
                  <a:t>4. Importação da barra de ferramentas GSTI</a:t>
                </a:r>
              </a:p>
            </p:txBody>
          </p:sp>
        </p:grpSp>
        <p:grpSp>
          <p:nvGrpSpPr>
            <p:cNvPr id="64" name="Grupo 63"/>
            <p:cNvGrpSpPr/>
            <p:nvPr/>
          </p:nvGrpSpPr>
          <p:grpSpPr>
            <a:xfrm>
              <a:off x="12716346" y="5222627"/>
              <a:ext cx="3190347" cy="1276139"/>
              <a:chOff x="10210749" y="3829508"/>
              <a:chExt cx="3190347" cy="1276139"/>
            </a:xfrm>
          </p:grpSpPr>
          <p:sp>
            <p:nvSpPr>
              <p:cNvPr id="65" name="Divisa 64"/>
              <p:cNvSpPr/>
              <p:nvPr/>
            </p:nvSpPr>
            <p:spPr>
              <a:xfrm>
                <a:off x="10210749" y="3829508"/>
                <a:ext cx="3190347" cy="1276139"/>
              </a:xfrm>
              <a:prstGeom prst="chevron">
                <a:avLst/>
              </a:prstGeom>
              <a:solidFill>
                <a:schemeClr val="bg1">
                  <a:lumMod val="65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66" name="Divisa 12"/>
              <p:cNvSpPr/>
              <p:nvPr/>
            </p:nvSpPr>
            <p:spPr>
              <a:xfrm>
                <a:off x="11037625" y="3829508"/>
                <a:ext cx="1914208" cy="1276139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80010" tIns="53340" rIns="26670" bIns="53340" numCol="1" spcCol="1270" anchor="ctr" anchorCtr="0">
                <a:no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pt-BR" kern="1200" dirty="0"/>
                  <a:t>5. Marcar a </a:t>
                </a:r>
                <a:r>
                  <a:rPr lang="pt-BR" kern="1200" dirty="0" err="1"/>
                  <a:t>dll</a:t>
                </a:r>
                <a:r>
                  <a:rPr lang="pt-BR" kern="1200" dirty="0"/>
                  <a:t> do </a:t>
                </a:r>
                <a:r>
                  <a:rPr lang="pt-BR" kern="1200" dirty="0" err="1"/>
                  <a:t>excel</a:t>
                </a:r>
                <a:r>
                  <a:rPr lang="pt-BR" kern="1200" dirty="0"/>
                  <a:t>  dentro do Project</a:t>
                </a:r>
              </a:p>
            </p:txBody>
          </p:sp>
        </p:grpSp>
      </p:grpSp>
      <p:cxnSp>
        <p:nvCxnSpPr>
          <p:cNvPr id="35" name="Conector de seta reta 34"/>
          <p:cNvCxnSpPr>
            <a:endCxn id="44" idx="0"/>
          </p:cNvCxnSpPr>
          <p:nvPr/>
        </p:nvCxnSpPr>
        <p:spPr>
          <a:xfrm>
            <a:off x="17196232" y="9507103"/>
            <a:ext cx="0" cy="756084"/>
          </a:xfrm>
          <a:prstGeom prst="straightConnector1">
            <a:avLst/>
          </a:prstGeom>
          <a:ln w="57150">
            <a:solidFill>
              <a:srgbClr val="FF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6" name="Retângulo 35"/>
          <p:cNvSpPr/>
          <p:nvPr/>
        </p:nvSpPr>
        <p:spPr>
          <a:xfrm>
            <a:off x="16938442" y="8763221"/>
            <a:ext cx="515580" cy="743882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4000" dirty="0"/>
              <a:t>2</a:t>
            </a:r>
          </a:p>
        </p:txBody>
      </p:sp>
      <p:sp>
        <p:nvSpPr>
          <p:cNvPr id="29" name="Retângulo de cantos arredondados 28"/>
          <p:cNvSpPr/>
          <p:nvPr/>
        </p:nvSpPr>
        <p:spPr>
          <a:xfrm>
            <a:off x="619002" y="4646563"/>
            <a:ext cx="5472608" cy="5673907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30" name="CaixaDeTexto 29"/>
          <p:cNvSpPr txBox="1"/>
          <p:nvPr/>
        </p:nvSpPr>
        <p:spPr>
          <a:xfrm>
            <a:off x="943038" y="4874776"/>
            <a:ext cx="5040560" cy="53091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pt-BR" sz="3600" dirty="0">
                <a:solidFill>
                  <a:srgbClr val="000000"/>
                </a:solidFill>
              </a:rPr>
              <a:t>Clicar em “Sim” para responder à pergunta se deseja substituir todas as personalizações da faixa de opções existentes</a:t>
            </a:r>
          </a:p>
          <a:p>
            <a:pPr marL="342900" indent="-342900">
              <a:buFont typeface="+mj-lt"/>
              <a:buAutoNum type="arabicPeriod"/>
            </a:pPr>
            <a:endParaRPr lang="pt-BR" sz="1500" dirty="0">
              <a:solidFill>
                <a:srgbClr val="000000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pt-BR" sz="3600" dirty="0">
                <a:solidFill>
                  <a:srgbClr val="000000"/>
                </a:solidFill>
              </a:rPr>
              <a:t>Clicar em “OK” para fechar a janela de opções do Project</a:t>
            </a:r>
          </a:p>
        </p:txBody>
      </p:sp>
      <p:sp>
        <p:nvSpPr>
          <p:cNvPr id="32" name="Título 1"/>
          <p:cNvSpPr txBox="1">
            <a:spLocks/>
          </p:cNvSpPr>
          <p:nvPr/>
        </p:nvSpPr>
        <p:spPr>
          <a:xfrm>
            <a:off x="835028" y="4215234"/>
            <a:ext cx="5806557" cy="48013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47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936" kern="1200" baseline="0">
                <a:solidFill>
                  <a:srgbClr val="006067"/>
                </a:solidFill>
                <a:latin typeface="Agenda Medium" charset="0"/>
                <a:ea typeface="Agenda Medium" charset="0"/>
                <a:cs typeface="Agenda Medium" charset="0"/>
              </a:defRPr>
            </a:lvl1pPr>
          </a:lstStyle>
          <a:p>
            <a:r>
              <a:rPr lang="en-US" sz="2800" dirty="0">
                <a:solidFill>
                  <a:schemeClr val="accent5">
                    <a:lumMod val="50000"/>
                  </a:schemeClr>
                </a:solidFill>
                <a:latin typeface="+mn-lt"/>
              </a:rPr>
              <a:t>4.4)</a:t>
            </a:r>
            <a:r>
              <a:rPr lang="en-US" sz="2800" dirty="0" err="1">
                <a:solidFill>
                  <a:schemeClr val="accent5">
                    <a:lumMod val="50000"/>
                  </a:schemeClr>
                </a:solidFill>
                <a:latin typeface="+mn-lt"/>
              </a:rPr>
              <a:t>Sair</a:t>
            </a:r>
            <a:r>
              <a:rPr lang="en-US" sz="2800" dirty="0">
                <a:solidFill>
                  <a:schemeClr val="accent5">
                    <a:lumMod val="50000"/>
                  </a:schemeClr>
                </a:solidFill>
                <a:latin typeface="+mn-lt"/>
              </a:rPr>
              <a:t> da </a:t>
            </a:r>
            <a:r>
              <a:rPr lang="en-US" sz="2800" dirty="0" err="1">
                <a:solidFill>
                  <a:schemeClr val="accent5">
                    <a:lumMod val="50000"/>
                  </a:schemeClr>
                </a:solidFill>
                <a:latin typeface="+mn-lt"/>
              </a:rPr>
              <a:t>Janela</a:t>
            </a:r>
            <a:r>
              <a:rPr lang="en-US" sz="2800" dirty="0">
                <a:solidFill>
                  <a:schemeClr val="accent5">
                    <a:lumMod val="50000"/>
                  </a:schemeClr>
                </a:solidFill>
                <a:latin typeface="+mn-lt"/>
              </a:rPr>
              <a:t> de </a:t>
            </a:r>
            <a:r>
              <a:rPr lang="en-US" sz="2800" dirty="0" err="1">
                <a:solidFill>
                  <a:schemeClr val="accent5">
                    <a:lumMod val="50000"/>
                  </a:schemeClr>
                </a:solidFill>
                <a:latin typeface="+mn-lt"/>
              </a:rPr>
              <a:t>opções</a:t>
            </a:r>
            <a:endParaRPr lang="en-US" sz="2800" dirty="0">
              <a:solidFill>
                <a:schemeClr val="accent5">
                  <a:lumMod val="50000"/>
                </a:schemeClr>
              </a:solidFill>
              <a:latin typeface="+mn-lt"/>
            </a:endParaRPr>
          </a:p>
        </p:txBody>
      </p:sp>
      <p:cxnSp>
        <p:nvCxnSpPr>
          <p:cNvPr id="40" name="Conector de seta reta 39"/>
          <p:cNvCxnSpPr/>
          <p:nvPr/>
        </p:nvCxnSpPr>
        <p:spPr>
          <a:xfrm flipH="1">
            <a:off x="11751940" y="5860330"/>
            <a:ext cx="351765" cy="543331"/>
          </a:xfrm>
          <a:prstGeom prst="straightConnector1">
            <a:avLst/>
          </a:prstGeom>
          <a:ln w="57150">
            <a:solidFill>
              <a:srgbClr val="FF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1" name="Retângulo 40"/>
          <p:cNvSpPr/>
          <p:nvPr/>
        </p:nvSpPr>
        <p:spPr>
          <a:xfrm>
            <a:off x="11936011" y="5116448"/>
            <a:ext cx="411159" cy="743882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4000" dirty="0"/>
              <a:t>1</a:t>
            </a:r>
          </a:p>
        </p:txBody>
      </p:sp>
      <p:sp>
        <p:nvSpPr>
          <p:cNvPr id="38" name="Retângulo 37"/>
          <p:cNvSpPr/>
          <p:nvPr/>
        </p:nvSpPr>
        <p:spPr>
          <a:xfrm>
            <a:off x="11204178" y="6403661"/>
            <a:ext cx="1095524" cy="357331"/>
          </a:xfrm>
          <a:prstGeom prst="rect">
            <a:avLst/>
          </a:prstGeom>
          <a:noFill/>
          <a:ln w="38100">
            <a:solidFill>
              <a:srgbClr val="FF0000"/>
            </a:solidFill>
            <a:prstDash val="sys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44" name="Retângulo 43"/>
          <p:cNvSpPr/>
          <p:nvPr/>
        </p:nvSpPr>
        <p:spPr>
          <a:xfrm>
            <a:off x="16532770" y="10263187"/>
            <a:ext cx="1326924" cy="485186"/>
          </a:xfrm>
          <a:prstGeom prst="rect">
            <a:avLst/>
          </a:prstGeom>
          <a:noFill/>
          <a:ln w="38100">
            <a:solidFill>
              <a:srgbClr val="FF0000"/>
            </a:solidFill>
            <a:prstDash val="sys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44478337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Picture 2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264"/>
          <a:stretch/>
        </p:blipFill>
        <p:spPr bwMode="auto">
          <a:xfrm>
            <a:off x="6598409" y="4215233"/>
            <a:ext cx="12454641" cy="663377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graphicFrame>
        <p:nvGraphicFramePr>
          <p:cNvPr id="51" name="Objeto 50" hidden="1">
            <a:extLst>
              <a:ext uri="{FF2B5EF4-FFF2-40B4-BE49-F238E27FC236}">
                <a16:creationId xmlns:a16="http://schemas.microsoft.com/office/drawing/2014/main" id="{7E65BC4C-0858-4F13-A045-BAC5EB65DAD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6" imgW="317" imgH="318" progId="TCLayout.ActiveDocument.1">
                  <p:embed/>
                </p:oleObj>
              </mc:Choice>
              <mc:Fallback>
                <p:oleObj name="Slide do think-cell" r:id="rId6" imgW="317" imgH="318" progId="TCLayout.ActiveDocument.1">
                  <p:embed/>
                  <p:pic>
                    <p:nvPicPr>
                      <p:cNvPr id="51" name="Objeto 50" hidden="1">
                        <a:extLst>
                          <a:ext uri="{FF2B5EF4-FFF2-40B4-BE49-F238E27FC236}">
                            <a16:creationId xmlns:a16="http://schemas.microsoft.com/office/drawing/2014/main" id="{7E65BC4C-0858-4F13-A045-BAC5EB65DA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Retângulo 49" hidden="1">
            <a:extLst>
              <a:ext uri="{FF2B5EF4-FFF2-40B4-BE49-F238E27FC236}">
                <a16:creationId xmlns:a16="http://schemas.microsoft.com/office/drawing/2014/main" id="{B6FD34B5-13C2-49BE-8AF2-FCDC4689AF2B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000">
              <a:latin typeface="Calibri" panose="020F0502020204030204" pitchFamily="34" charset="0"/>
              <a:sym typeface="+mn-lt"/>
            </a:endParaRPr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9CB7E9B1-69E0-4E6D-BF67-AE78100CC5D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9485098" y="10669637"/>
            <a:ext cx="720080" cy="601662"/>
          </a:xfrm>
        </p:spPr>
        <p:txBody>
          <a:bodyPr/>
          <a:lstStyle/>
          <a:p>
            <a:fld id="{BE418F81-F092-F643-8EAE-268022441A30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9" name="Título 1"/>
          <p:cNvSpPr>
            <a:spLocks noGrp="1"/>
          </p:cNvSpPr>
          <p:nvPr>
            <p:ph type="title"/>
          </p:nvPr>
        </p:nvSpPr>
        <p:spPr>
          <a:xfrm>
            <a:off x="546994" y="758131"/>
            <a:ext cx="17058188" cy="840230"/>
          </a:xfrm>
        </p:spPr>
        <p:txBody>
          <a:bodyPr/>
          <a:lstStyle/>
          <a:p>
            <a:r>
              <a:rPr lang="en-US" sz="5400" dirty="0" err="1">
                <a:solidFill>
                  <a:schemeClr val="accent5">
                    <a:lumMod val="50000"/>
                  </a:schemeClr>
                </a:solidFill>
              </a:rPr>
              <a:t>Instalação</a:t>
            </a:r>
            <a:r>
              <a:rPr lang="en-US" sz="5400" dirty="0">
                <a:solidFill>
                  <a:schemeClr val="accent5">
                    <a:lumMod val="50000"/>
                  </a:schemeClr>
                </a:solidFill>
              </a:rPr>
              <a:t> da Barra de </a:t>
            </a:r>
            <a:r>
              <a:rPr lang="en-US" sz="5400" dirty="0" err="1">
                <a:solidFill>
                  <a:schemeClr val="accent5">
                    <a:lumMod val="50000"/>
                  </a:schemeClr>
                </a:solidFill>
              </a:rPr>
              <a:t>Ferramentas</a:t>
            </a:r>
            <a:r>
              <a:rPr lang="en-US" sz="5400" dirty="0">
                <a:solidFill>
                  <a:schemeClr val="accent5">
                    <a:lumMod val="50000"/>
                  </a:schemeClr>
                </a:solidFill>
              </a:rPr>
              <a:t> do GSTI </a:t>
            </a:r>
          </a:p>
        </p:txBody>
      </p:sp>
      <p:grpSp>
        <p:nvGrpSpPr>
          <p:cNvPr id="12" name="Grupo 11"/>
          <p:cNvGrpSpPr/>
          <p:nvPr/>
        </p:nvGrpSpPr>
        <p:grpSpPr>
          <a:xfrm>
            <a:off x="2635225" y="2054275"/>
            <a:ext cx="13321480" cy="1728192"/>
            <a:chOff x="2507233" y="5222627"/>
            <a:chExt cx="13399460" cy="1276139"/>
          </a:xfrm>
        </p:grpSpPr>
        <p:grpSp>
          <p:nvGrpSpPr>
            <p:cNvPr id="60" name="Grupo 59"/>
            <p:cNvGrpSpPr/>
            <p:nvPr/>
          </p:nvGrpSpPr>
          <p:grpSpPr>
            <a:xfrm>
              <a:off x="2507233" y="5222627"/>
              <a:ext cx="3190347" cy="1276139"/>
              <a:chOff x="1636" y="3829508"/>
              <a:chExt cx="3190347" cy="1276139"/>
            </a:xfrm>
          </p:grpSpPr>
          <p:sp>
            <p:nvSpPr>
              <p:cNvPr id="73" name="Pentágono 72"/>
              <p:cNvSpPr/>
              <p:nvPr/>
            </p:nvSpPr>
            <p:spPr>
              <a:xfrm>
                <a:off x="1636" y="3829508"/>
                <a:ext cx="3190347" cy="1276139"/>
              </a:xfrm>
              <a:prstGeom prst="homePlate">
                <a:avLst/>
              </a:prstGeom>
              <a:solidFill>
                <a:schemeClr val="bg1">
                  <a:lumMod val="65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74" name="Pentágono 4"/>
              <p:cNvSpPr/>
              <p:nvPr/>
            </p:nvSpPr>
            <p:spPr>
              <a:xfrm>
                <a:off x="1636" y="3829508"/>
                <a:ext cx="2871312" cy="1276139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106680" tIns="53340" rIns="26670" bIns="53340" numCol="1" spcCol="1270" anchor="ctr" anchorCtr="0">
                <a:no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pt-BR" kern="1200" dirty="0"/>
                  <a:t>1. Exclusão de todas as personalizações</a:t>
                </a:r>
              </a:p>
            </p:txBody>
          </p:sp>
        </p:grpSp>
        <p:grpSp>
          <p:nvGrpSpPr>
            <p:cNvPr id="61" name="Grupo 60"/>
            <p:cNvGrpSpPr/>
            <p:nvPr/>
          </p:nvGrpSpPr>
          <p:grpSpPr>
            <a:xfrm>
              <a:off x="5059511" y="5222627"/>
              <a:ext cx="3190347" cy="1276139"/>
              <a:chOff x="2553914" y="3829508"/>
              <a:chExt cx="3190347" cy="1276139"/>
            </a:xfrm>
          </p:grpSpPr>
          <p:sp>
            <p:nvSpPr>
              <p:cNvPr id="71" name="Divisa 70"/>
              <p:cNvSpPr/>
              <p:nvPr/>
            </p:nvSpPr>
            <p:spPr>
              <a:xfrm>
                <a:off x="2553914" y="3829508"/>
                <a:ext cx="3190347" cy="1276139"/>
              </a:xfrm>
              <a:prstGeom prst="chevron">
                <a:avLst/>
              </a:prstGeom>
              <a:solidFill>
                <a:schemeClr val="bg1">
                  <a:lumMod val="65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72" name="Divisa 6"/>
              <p:cNvSpPr/>
              <p:nvPr/>
            </p:nvSpPr>
            <p:spPr>
              <a:xfrm>
                <a:off x="3260965" y="3829508"/>
                <a:ext cx="1914208" cy="1276139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80010" tIns="53340" rIns="26670" bIns="53340" numCol="1" spcCol="1270" anchor="ctr" anchorCtr="0">
                <a:no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pt-BR" sz="2000" kern="1200" dirty="0"/>
                  <a:t>2. Exclusão dos módulos e formulários existentes </a:t>
                </a:r>
              </a:p>
            </p:txBody>
          </p:sp>
        </p:grpSp>
        <p:grpSp>
          <p:nvGrpSpPr>
            <p:cNvPr id="62" name="Grupo 61"/>
            <p:cNvGrpSpPr/>
            <p:nvPr/>
          </p:nvGrpSpPr>
          <p:grpSpPr>
            <a:xfrm>
              <a:off x="7611789" y="5222627"/>
              <a:ext cx="3190347" cy="1276139"/>
              <a:chOff x="5106192" y="3829508"/>
              <a:chExt cx="3190347" cy="1276139"/>
            </a:xfrm>
          </p:grpSpPr>
          <p:sp>
            <p:nvSpPr>
              <p:cNvPr id="69" name="Divisa 68"/>
              <p:cNvSpPr/>
              <p:nvPr/>
            </p:nvSpPr>
            <p:spPr>
              <a:xfrm>
                <a:off x="5106192" y="3829508"/>
                <a:ext cx="3190347" cy="1276139"/>
              </a:xfrm>
              <a:prstGeom prst="chevron">
                <a:avLst/>
              </a:prstGeom>
              <a:solidFill>
                <a:schemeClr val="bg1">
                  <a:lumMod val="65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70" name="Divisa 8"/>
              <p:cNvSpPr/>
              <p:nvPr/>
            </p:nvSpPr>
            <p:spPr>
              <a:xfrm>
                <a:off x="5909817" y="3829508"/>
                <a:ext cx="1914208" cy="1276139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80010" tIns="53340" rIns="26670" bIns="53340" numCol="1" spcCol="1270" anchor="ctr" anchorCtr="0">
                <a:no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pt-BR" sz="2000" kern="1200" dirty="0"/>
                  <a:t>3. Importação de novos módulos</a:t>
                </a:r>
              </a:p>
            </p:txBody>
          </p:sp>
        </p:grpSp>
        <p:grpSp>
          <p:nvGrpSpPr>
            <p:cNvPr id="63" name="Grupo 62"/>
            <p:cNvGrpSpPr/>
            <p:nvPr/>
          </p:nvGrpSpPr>
          <p:grpSpPr>
            <a:xfrm>
              <a:off x="10164067" y="5222627"/>
              <a:ext cx="3190347" cy="1276139"/>
              <a:chOff x="7658470" y="3829508"/>
              <a:chExt cx="3190347" cy="1276139"/>
            </a:xfrm>
          </p:grpSpPr>
          <p:sp>
            <p:nvSpPr>
              <p:cNvPr id="67" name="Divisa 66"/>
              <p:cNvSpPr/>
              <p:nvPr/>
            </p:nvSpPr>
            <p:spPr>
              <a:xfrm>
                <a:off x="7658470" y="3829508"/>
                <a:ext cx="3190347" cy="1276139"/>
              </a:xfrm>
              <a:prstGeom prst="chevron">
                <a:avLst/>
              </a:prstGeom>
              <a:solidFill>
                <a:schemeClr val="bg1">
                  <a:lumMod val="65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pt-BR" dirty="0"/>
              </a:p>
            </p:txBody>
          </p:sp>
          <p:sp>
            <p:nvSpPr>
              <p:cNvPr id="68" name="Divisa 10"/>
              <p:cNvSpPr/>
              <p:nvPr/>
            </p:nvSpPr>
            <p:spPr>
              <a:xfrm>
                <a:off x="8296540" y="3829508"/>
                <a:ext cx="1914208" cy="1276139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80010" tIns="53340" rIns="26670" bIns="53340" numCol="1" spcCol="1270" anchor="ctr" anchorCtr="0">
                <a:no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pt-BR" kern="1200" dirty="0"/>
                  <a:t>4. Importação da barra de ferramentas GSTI</a:t>
                </a:r>
              </a:p>
            </p:txBody>
          </p:sp>
        </p:grpSp>
        <p:grpSp>
          <p:nvGrpSpPr>
            <p:cNvPr id="64" name="Grupo 63"/>
            <p:cNvGrpSpPr/>
            <p:nvPr/>
          </p:nvGrpSpPr>
          <p:grpSpPr>
            <a:xfrm>
              <a:off x="12716346" y="5222627"/>
              <a:ext cx="3190347" cy="1276139"/>
              <a:chOff x="10210749" y="3829508"/>
              <a:chExt cx="3190347" cy="1276139"/>
            </a:xfrm>
          </p:grpSpPr>
          <p:sp>
            <p:nvSpPr>
              <p:cNvPr id="65" name="Divisa 64"/>
              <p:cNvSpPr/>
              <p:nvPr/>
            </p:nvSpPr>
            <p:spPr>
              <a:xfrm>
                <a:off x="10210749" y="3829508"/>
                <a:ext cx="3190347" cy="1276139"/>
              </a:xfrm>
              <a:prstGeom prst="chevron">
                <a:avLst/>
              </a:prstGeom>
              <a:solidFill>
                <a:schemeClr val="accent1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66" name="Divisa 12"/>
              <p:cNvSpPr/>
              <p:nvPr/>
            </p:nvSpPr>
            <p:spPr>
              <a:xfrm>
                <a:off x="11037625" y="3829508"/>
                <a:ext cx="1914208" cy="1276139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80010" tIns="53340" rIns="26670" bIns="53340" numCol="1" spcCol="1270" anchor="ctr" anchorCtr="0">
                <a:no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pt-BR" sz="2000" kern="1200" dirty="0"/>
                  <a:t>5. Marcar a </a:t>
                </a:r>
                <a:r>
                  <a:rPr lang="pt-BR" sz="2000" kern="1200" dirty="0" err="1"/>
                  <a:t>dll</a:t>
                </a:r>
                <a:r>
                  <a:rPr lang="pt-BR" sz="2000" kern="1200" dirty="0"/>
                  <a:t> do </a:t>
                </a:r>
                <a:r>
                  <a:rPr lang="pt-BR" sz="2000" kern="1200" dirty="0" err="1"/>
                  <a:t>excel</a:t>
                </a:r>
                <a:r>
                  <a:rPr lang="pt-BR" sz="2000" kern="1200" dirty="0"/>
                  <a:t>  dentro do Project</a:t>
                </a:r>
              </a:p>
            </p:txBody>
          </p:sp>
        </p:grpSp>
      </p:grpSp>
      <p:sp>
        <p:nvSpPr>
          <p:cNvPr id="29" name="Retângulo de cantos arredondados 28"/>
          <p:cNvSpPr/>
          <p:nvPr/>
        </p:nvSpPr>
        <p:spPr>
          <a:xfrm>
            <a:off x="619002" y="4646563"/>
            <a:ext cx="5472608" cy="5673907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30" name="CaixaDeTexto 29"/>
          <p:cNvSpPr txBox="1"/>
          <p:nvPr/>
        </p:nvSpPr>
        <p:spPr>
          <a:xfrm>
            <a:off x="943038" y="4874776"/>
            <a:ext cx="5040560" cy="49859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pt-BR" sz="3600" dirty="0">
                <a:solidFill>
                  <a:srgbClr val="000000"/>
                </a:solidFill>
              </a:rPr>
              <a:t>Abrir arquivo MS-Project 2010</a:t>
            </a:r>
          </a:p>
          <a:p>
            <a:pPr marL="342900" indent="-342900">
              <a:buFont typeface="+mj-lt"/>
              <a:buAutoNum type="arabicPeriod"/>
            </a:pPr>
            <a:endParaRPr lang="pt-BR" sz="1500" dirty="0">
              <a:solidFill>
                <a:srgbClr val="000000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pt-BR" sz="3600" dirty="0">
                <a:solidFill>
                  <a:srgbClr val="000000"/>
                </a:solidFill>
              </a:rPr>
              <a:t>Não ter nenhum arquivo aberto no MS-Project</a:t>
            </a:r>
          </a:p>
          <a:p>
            <a:pPr marL="342900" indent="-342900">
              <a:buFont typeface="+mj-lt"/>
              <a:buAutoNum type="arabicPeriod"/>
            </a:pPr>
            <a:endParaRPr lang="pt-BR" sz="1500" dirty="0">
              <a:solidFill>
                <a:srgbClr val="000000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pt-BR" sz="3600" dirty="0">
                <a:solidFill>
                  <a:srgbClr val="000000"/>
                </a:solidFill>
              </a:rPr>
              <a:t>Digitar “</a:t>
            </a:r>
            <a:r>
              <a:rPr lang="pt-BR" sz="3600" dirty="0" err="1">
                <a:solidFill>
                  <a:srgbClr val="000000"/>
                </a:solidFill>
              </a:rPr>
              <a:t>Alt</a:t>
            </a:r>
            <a:r>
              <a:rPr lang="pt-BR" sz="3600" dirty="0">
                <a:solidFill>
                  <a:srgbClr val="000000"/>
                </a:solidFill>
              </a:rPr>
              <a:t> + F11” para acessar o editor do Visual Basic</a:t>
            </a:r>
          </a:p>
        </p:txBody>
      </p:sp>
      <p:sp>
        <p:nvSpPr>
          <p:cNvPr id="32" name="Título 1"/>
          <p:cNvSpPr txBox="1">
            <a:spLocks/>
          </p:cNvSpPr>
          <p:nvPr/>
        </p:nvSpPr>
        <p:spPr>
          <a:xfrm>
            <a:off x="835028" y="4215234"/>
            <a:ext cx="5806557" cy="48013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47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936" kern="1200" baseline="0">
                <a:solidFill>
                  <a:srgbClr val="006067"/>
                </a:solidFill>
                <a:latin typeface="Agenda Medium" charset="0"/>
                <a:ea typeface="Agenda Medium" charset="0"/>
                <a:cs typeface="Agenda Medium" charset="0"/>
              </a:defRPr>
            </a:lvl1pPr>
          </a:lstStyle>
          <a:p>
            <a:r>
              <a:rPr lang="en-US" sz="2800" dirty="0">
                <a:solidFill>
                  <a:schemeClr val="accent5">
                    <a:lumMod val="50000"/>
                  </a:schemeClr>
                </a:solidFill>
                <a:latin typeface="+mn-lt"/>
              </a:rPr>
              <a:t>5.1)</a:t>
            </a:r>
            <a:r>
              <a:rPr lang="en-US" sz="2800" dirty="0" err="1">
                <a:solidFill>
                  <a:schemeClr val="accent5">
                    <a:lumMod val="50000"/>
                  </a:schemeClr>
                </a:solidFill>
                <a:latin typeface="+mn-lt"/>
              </a:rPr>
              <a:t>Acessar</a:t>
            </a:r>
            <a:r>
              <a:rPr lang="en-US" sz="2800" dirty="0">
                <a:solidFill>
                  <a:schemeClr val="accent5">
                    <a:lumMod val="50000"/>
                  </a:schemeClr>
                </a:solidFill>
                <a:latin typeface="+mn-lt"/>
              </a:rPr>
              <a:t> o Visual Basic</a:t>
            </a:r>
          </a:p>
        </p:txBody>
      </p:sp>
    </p:spTree>
    <p:extLst>
      <p:ext uri="{BB962C8B-B14F-4D97-AF65-F5344CB8AC3E}">
        <p14:creationId xmlns:p14="http://schemas.microsoft.com/office/powerpoint/2010/main" val="115834216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" name="Objeto 50" hidden="1">
            <a:extLst>
              <a:ext uri="{FF2B5EF4-FFF2-40B4-BE49-F238E27FC236}">
                <a16:creationId xmlns:a16="http://schemas.microsoft.com/office/drawing/2014/main" id="{7E65BC4C-0858-4F13-A045-BAC5EB65DAD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5" imgW="317" imgH="318" progId="TCLayout.ActiveDocument.1">
                  <p:embed/>
                </p:oleObj>
              </mc:Choice>
              <mc:Fallback>
                <p:oleObj name="Slide do think-cell" r:id="rId5" imgW="317" imgH="318" progId="TCLayout.ActiveDocument.1">
                  <p:embed/>
                  <p:pic>
                    <p:nvPicPr>
                      <p:cNvPr id="51" name="Objeto 50" hidden="1">
                        <a:extLst>
                          <a:ext uri="{FF2B5EF4-FFF2-40B4-BE49-F238E27FC236}">
                            <a16:creationId xmlns:a16="http://schemas.microsoft.com/office/drawing/2014/main" id="{7E65BC4C-0858-4F13-A045-BAC5EB65DA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Retângulo 49" hidden="1">
            <a:extLst>
              <a:ext uri="{FF2B5EF4-FFF2-40B4-BE49-F238E27FC236}">
                <a16:creationId xmlns:a16="http://schemas.microsoft.com/office/drawing/2014/main" id="{B6FD34B5-13C2-49BE-8AF2-FCDC4689AF2B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000">
              <a:latin typeface="Calibri" panose="020F0502020204030204" pitchFamily="34" charset="0"/>
              <a:sym typeface="+mn-lt"/>
            </a:endParaRPr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9CB7E9B1-69E0-4E6D-BF67-AE78100CC5D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9485098" y="10669637"/>
            <a:ext cx="720080" cy="601662"/>
          </a:xfrm>
        </p:spPr>
        <p:txBody>
          <a:bodyPr/>
          <a:lstStyle/>
          <a:p>
            <a:fld id="{BE418F81-F092-F643-8EAE-268022441A30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9" name="Título 1"/>
          <p:cNvSpPr>
            <a:spLocks noGrp="1"/>
          </p:cNvSpPr>
          <p:nvPr>
            <p:ph type="title"/>
          </p:nvPr>
        </p:nvSpPr>
        <p:spPr>
          <a:xfrm>
            <a:off x="546994" y="758131"/>
            <a:ext cx="17058188" cy="840230"/>
          </a:xfrm>
        </p:spPr>
        <p:txBody>
          <a:bodyPr/>
          <a:lstStyle/>
          <a:p>
            <a:r>
              <a:rPr lang="en-US" sz="5400" dirty="0" err="1">
                <a:solidFill>
                  <a:schemeClr val="accent5">
                    <a:lumMod val="50000"/>
                  </a:schemeClr>
                </a:solidFill>
              </a:rPr>
              <a:t>Instalação</a:t>
            </a:r>
            <a:r>
              <a:rPr lang="en-US" sz="5400" dirty="0">
                <a:solidFill>
                  <a:schemeClr val="accent5">
                    <a:lumMod val="50000"/>
                  </a:schemeClr>
                </a:solidFill>
              </a:rPr>
              <a:t> da Barra de </a:t>
            </a:r>
            <a:r>
              <a:rPr lang="en-US" sz="5400" dirty="0" err="1">
                <a:solidFill>
                  <a:schemeClr val="accent5">
                    <a:lumMod val="50000"/>
                  </a:schemeClr>
                </a:solidFill>
              </a:rPr>
              <a:t>Ferramentas</a:t>
            </a:r>
            <a:r>
              <a:rPr lang="en-US" sz="5400" dirty="0">
                <a:solidFill>
                  <a:schemeClr val="accent5">
                    <a:lumMod val="50000"/>
                  </a:schemeClr>
                </a:solidFill>
              </a:rPr>
              <a:t> do GSTI </a:t>
            </a:r>
          </a:p>
        </p:txBody>
      </p:sp>
      <p:grpSp>
        <p:nvGrpSpPr>
          <p:cNvPr id="12" name="Grupo 11"/>
          <p:cNvGrpSpPr/>
          <p:nvPr/>
        </p:nvGrpSpPr>
        <p:grpSpPr>
          <a:xfrm>
            <a:off x="2635225" y="2054275"/>
            <a:ext cx="13321480" cy="1728192"/>
            <a:chOff x="2507233" y="5222627"/>
            <a:chExt cx="13399460" cy="1276139"/>
          </a:xfrm>
        </p:grpSpPr>
        <p:grpSp>
          <p:nvGrpSpPr>
            <p:cNvPr id="60" name="Grupo 59"/>
            <p:cNvGrpSpPr/>
            <p:nvPr/>
          </p:nvGrpSpPr>
          <p:grpSpPr>
            <a:xfrm>
              <a:off x="2507233" y="5222627"/>
              <a:ext cx="3190347" cy="1276139"/>
              <a:chOff x="1636" y="3829508"/>
              <a:chExt cx="3190347" cy="1276139"/>
            </a:xfrm>
          </p:grpSpPr>
          <p:sp>
            <p:nvSpPr>
              <p:cNvPr id="73" name="Pentágono 72"/>
              <p:cNvSpPr/>
              <p:nvPr/>
            </p:nvSpPr>
            <p:spPr>
              <a:xfrm>
                <a:off x="1636" y="3829508"/>
                <a:ext cx="3190347" cy="1276139"/>
              </a:xfrm>
              <a:prstGeom prst="homePlate">
                <a:avLst/>
              </a:prstGeom>
              <a:solidFill>
                <a:schemeClr val="bg1">
                  <a:lumMod val="65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74" name="Pentágono 4"/>
              <p:cNvSpPr/>
              <p:nvPr/>
            </p:nvSpPr>
            <p:spPr>
              <a:xfrm>
                <a:off x="1636" y="3829508"/>
                <a:ext cx="2871312" cy="1276139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106680" tIns="53340" rIns="26670" bIns="53340" numCol="1" spcCol="1270" anchor="ctr" anchorCtr="0">
                <a:no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pt-BR" kern="1200" dirty="0"/>
                  <a:t>1. Exclusão de todas as personalizações</a:t>
                </a:r>
              </a:p>
            </p:txBody>
          </p:sp>
        </p:grpSp>
        <p:grpSp>
          <p:nvGrpSpPr>
            <p:cNvPr id="61" name="Grupo 60"/>
            <p:cNvGrpSpPr/>
            <p:nvPr/>
          </p:nvGrpSpPr>
          <p:grpSpPr>
            <a:xfrm>
              <a:off x="5059511" y="5222627"/>
              <a:ext cx="3190347" cy="1276139"/>
              <a:chOff x="2553914" y="3829508"/>
              <a:chExt cx="3190347" cy="1276139"/>
            </a:xfrm>
          </p:grpSpPr>
          <p:sp>
            <p:nvSpPr>
              <p:cNvPr id="71" name="Divisa 70"/>
              <p:cNvSpPr/>
              <p:nvPr/>
            </p:nvSpPr>
            <p:spPr>
              <a:xfrm>
                <a:off x="2553914" y="3829508"/>
                <a:ext cx="3190347" cy="1276139"/>
              </a:xfrm>
              <a:prstGeom prst="chevron">
                <a:avLst/>
              </a:prstGeom>
              <a:solidFill>
                <a:schemeClr val="bg1">
                  <a:lumMod val="65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72" name="Divisa 6"/>
              <p:cNvSpPr/>
              <p:nvPr/>
            </p:nvSpPr>
            <p:spPr>
              <a:xfrm>
                <a:off x="3260965" y="3829508"/>
                <a:ext cx="1914208" cy="1276139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80010" tIns="53340" rIns="26670" bIns="53340" numCol="1" spcCol="1270" anchor="ctr" anchorCtr="0">
                <a:no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pt-BR" sz="2000" kern="1200" dirty="0"/>
                  <a:t>2. Exclusão dos módulos e formulários existentes </a:t>
                </a:r>
              </a:p>
            </p:txBody>
          </p:sp>
        </p:grpSp>
        <p:grpSp>
          <p:nvGrpSpPr>
            <p:cNvPr id="62" name="Grupo 61"/>
            <p:cNvGrpSpPr/>
            <p:nvPr/>
          </p:nvGrpSpPr>
          <p:grpSpPr>
            <a:xfrm>
              <a:off x="7611789" y="5222627"/>
              <a:ext cx="3190347" cy="1276139"/>
              <a:chOff x="5106192" y="3829508"/>
              <a:chExt cx="3190347" cy="1276139"/>
            </a:xfrm>
          </p:grpSpPr>
          <p:sp>
            <p:nvSpPr>
              <p:cNvPr id="69" name="Divisa 68"/>
              <p:cNvSpPr/>
              <p:nvPr/>
            </p:nvSpPr>
            <p:spPr>
              <a:xfrm>
                <a:off x="5106192" y="3829508"/>
                <a:ext cx="3190347" cy="1276139"/>
              </a:xfrm>
              <a:prstGeom prst="chevron">
                <a:avLst/>
              </a:prstGeom>
              <a:solidFill>
                <a:schemeClr val="bg1">
                  <a:lumMod val="65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70" name="Divisa 8"/>
              <p:cNvSpPr/>
              <p:nvPr/>
            </p:nvSpPr>
            <p:spPr>
              <a:xfrm>
                <a:off x="5909817" y="3829508"/>
                <a:ext cx="1914208" cy="1276139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80010" tIns="53340" rIns="26670" bIns="53340" numCol="1" spcCol="1270" anchor="ctr" anchorCtr="0">
                <a:no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pt-BR" sz="2000" kern="1200" dirty="0"/>
                  <a:t>3. Importação de novos módulos</a:t>
                </a:r>
              </a:p>
            </p:txBody>
          </p:sp>
        </p:grpSp>
        <p:grpSp>
          <p:nvGrpSpPr>
            <p:cNvPr id="63" name="Grupo 62"/>
            <p:cNvGrpSpPr/>
            <p:nvPr/>
          </p:nvGrpSpPr>
          <p:grpSpPr>
            <a:xfrm>
              <a:off x="10164067" y="5222627"/>
              <a:ext cx="3190347" cy="1276139"/>
              <a:chOff x="7658470" y="3829508"/>
              <a:chExt cx="3190347" cy="1276139"/>
            </a:xfrm>
          </p:grpSpPr>
          <p:sp>
            <p:nvSpPr>
              <p:cNvPr id="67" name="Divisa 66"/>
              <p:cNvSpPr/>
              <p:nvPr/>
            </p:nvSpPr>
            <p:spPr>
              <a:xfrm>
                <a:off x="7658470" y="3829508"/>
                <a:ext cx="3190347" cy="1276139"/>
              </a:xfrm>
              <a:prstGeom prst="chevron">
                <a:avLst/>
              </a:prstGeom>
              <a:solidFill>
                <a:schemeClr val="bg1">
                  <a:lumMod val="65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pt-BR" dirty="0"/>
              </a:p>
            </p:txBody>
          </p:sp>
          <p:sp>
            <p:nvSpPr>
              <p:cNvPr id="68" name="Divisa 10"/>
              <p:cNvSpPr/>
              <p:nvPr/>
            </p:nvSpPr>
            <p:spPr>
              <a:xfrm>
                <a:off x="8296540" y="3829508"/>
                <a:ext cx="1914208" cy="1276139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80010" tIns="53340" rIns="26670" bIns="53340" numCol="1" spcCol="1270" anchor="ctr" anchorCtr="0">
                <a:no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pt-BR" kern="1200" dirty="0"/>
                  <a:t>4. Importação da barra de ferramentas GSTI</a:t>
                </a:r>
              </a:p>
            </p:txBody>
          </p:sp>
        </p:grpSp>
        <p:grpSp>
          <p:nvGrpSpPr>
            <p:cNvPr id="64" name="Grupo 63"/>
            <p:cNvGrpSpPr/>
            <p:nvPr/>
          </p:nvGrpSpPr>
          <p:grpSpPr>
            <a:xfrm>
              <a:off x="12716346" y="5222627"/>
              <a:ext cx="3190347" cy="1276139"/>
              <a:chOff x="10210749" y="3829508"/>
              <a:chExt cx="3190347" cy="1276139"/>
            </a:xfrm>
          </p:grpSpPr>
          <p:sp>
            <p:nvSpPr>
              <p:cNvPr id="65" name="Divisa 64"/>
              <p:cNvSpPr/>
              <p:nvPr/>
            </p:nvSpPr>
            <p:spPr>
              <a:xfrm>
                <a:off x="10210749" y="3829508"/>
                <a:ext cx="3190347" cy="1276139"/>
              </a:xfrm>
              <a:prstGeom prst="chevron">
                <a:avLst/>
              </a:prstGeom>
              <a:solidFill>
                <a:schemeClr val="accent1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66" name="Divisa 12"/>
              <p:cNvSpPr/>
              <p:nvPr/>
            </p:nvSpPr>
            <p:spPr>
              <a:xfrm>
                <a:off x="11037625" y="3829508"/>
                <a:ext cx="1914208" cy="1276139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80010" tIns="53340" rIns="26670" bIns="53340" numCol="1" spcCol="1270" anchor="ctr" anchorCtr="0">
                <a:no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pt-BR" sz="2000" kern="1200" dirty="0"/>
                  <a:t>5. Marcar a </a:t>
                </a:r>
                <a:r>
                  <a:rPr lang="pt-BR" sz="2000" kern="1200" dirty="0" err="1"/>
                  <a:t>dll</a:t>
                </a:r>
                <a:r>
                  <a:rPr lang="pt-BR" sz="2000" kern="1200" dirty="0"/>
                  <a:t> do </a:t>
                </a:r>
                <a:r>
                  <a:rPr lang="pt-BR" sz="2000" kern="1200" dirty="0" err="1"/>
                  <a:t>excel</a:t>
                </a:r>
                <a:r>
                  <a:rPr lang="pt-BR" sz="2000" kern="1200" dirty="0"/>
                  <a:t>  dentro do Project</a:t>
                </a:r>
              </a:p>
            </p:txBody>
          </p:sp>
        </p:grpSp>
      </p:grpSp>
      <p:sp>
        <p:nvSpPr>
          <p:cNvPr id="29" name="Retângulo de cantos arredondados 28"/>
          <p:cNvSpPr/>
          <p:nvPr/>
        </p:nvSpPr>
        <p:spPr>
          <a:xfrm>
            <a:off x="619002" y="4646563"/>
            <a:ext cx="5472608" cy="5673907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30" name="CaixaDeTexto 29"/>
          <p:cNvSpPr txBox="1"/>
          <p:nvPr/>
        </p:nvSpPr>
        <p:spPr>
          <a:xfrm>
            <a:off x="943038" y="4843710"/>
            <a:ext cx="5040560" cy="25391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pt-BR" sz="3600" dirty="0">
                <a:solidFill>
                  <a:srgbClr val="000000"/>
                </a:solidFill>
              </a:rPr>
              <a:t>Clique na Aba “Ferramentas”</a:t>
            </a:r>
          </a:p>
          <a:p>
            <a:pPr marL="342900" indent="-342900">
              <a:buFont typeface="+mj-lt"/>
              <a:buAutoNum type="arabicPeriod"/>
            </a:pPr>
            <a:endParaRPr lang="pt-BR" sz="1500" dirty="0">
              <a:solidFill>
                <a:srgbClr val="000000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pt-BR" sz="3600" dirty="0">
                <a:solidFill>
                  <a:srgbClr val="000000"/>
                </a:solidFill>
              </a:rPr>
              <a:t>Selecione a opção “Referências”</a:t>
            </a:r>
          </a:p>
        </p:txBody>
      </p:sp>
      <p:sp>
        <p:nvSpPr>
          <p:cNvPr id="32" name="Título 1"/>
          <p:cNvSpPr txBox="1">
            <a:spLocks/>
          </p:cNvSpPr>
          <p:nvPr/>
        </p:nvSpPr>
        <p:spPr>
          <a:xfrm>
            <a:off x="835028" y="4215234"/>
            <a:ext cx="5806557" cy="48013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47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936" kern="1200" baseline="0">
                <a:solidFill>
                  <a:srgbClr val="006067"/>
                </a:solidFill>
                <a:latin typeface="Agenda Medium" charset="0"/>
                <a:ea typeface="Agenda Medium" charset="0"/>
                <a:cs typeface="Agenda Medium" charset="0"/>
              </a:defRPr>
            </a:lvl1pPr>
          </a:lstStyle>
          <a:p>
            <a:r>
              <a:rPr lang="en-US" sz="2800" dirty="0">
                <a:solidFill>
                  <a:schemeClr val="accent5">
                    <a:lumMod val="50000"/>
                  </a:schemeClr>
                </a:solidFill>
                <a:latin typeface="+mn-lt"/>
              </a:rPr>
              <a:t>5.2)</a:t>
            </a:r>
            <a:r>
              <a:rPr lang="en-US" sz="2800" dirty="0" err="1">
                <a:solidFill>
                  <a:schemeClr val="accent5">
                    <a:lumMod val="50000"/>
                  </a:schemeClr>
                </a:solidFill>
                <a:latin typeface="+mn-lt"/>
              </a:rPr>
              <a:t>Acessar</a:t>
            </a:r>
            <a:r>
              <a:rPr lang="en-US" sz="2800" dirty="0">
                <a:solidFill>
                  <a:schemeClr val="accent5">
                    <a:lumMod val="50000"/>
                  </a:schemeClr>
                </a:solidFill>
                <a:latin typeface="+mn-lt"/>
              </a:rPr>
              <a:t> </a:t>
            </a:r>
            <a:r>
              <a:rPr lang="en-US" sz="2800" dirty="0" err="1">
                <a:solidFill>
                  <a:schemeClr val="accent5">
                    <a:lumMod val="50000"/>
                  </a:schemeClr>
                </a:solidFill>
                <a:latin typeface="+mn-lt"/>
              </a:rPr>
              <a:t>Referências</a:t>
            </a:r>
            <a:endParaRPr lang="en-US" sz="2800" dirty="0">
              <a:solidFill>
                <a:schemeClr val="accent5">
                  <a:lumMod val="50000"/>
                </a:schemeClr>
              </a:solidFill>
              <a:latin typeface="+mn-lt"/>
            </a:endParaRPr>
          </a:p>
        </p:txBody>
      </p:sp>
      <p:pic>
        <p:nvPicPr>
          <p:cNvPr id="26" name="Picture 2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766" b="54797"/>
          <a:stretch/>
        </p:blipFill>
        <p:spPr bwMode="auto">
          <a:xfrm>
            <a:off x="6586379" y="4214515"/>
            <a:ext cx="12831570" cy="662364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cxnSp>
        <p:nvCxnSpPr>
          <p:cNvPr id="27" name="Conector de seta reta 26"/>
          <p:cNvCxnSpPr>
            <a:stCxn id="35" idx="0"/>
          </p:cNvCxnSpPr>
          <p:nvPr/>
        </p:nvCxnSpPr>
        <p:spPr>
          <a:xfrm flipV="1">
            <a:off x="15618723" y="5472200"/>
            <a:ext cx="205580" cy="630155"/>
          </a:xfrm>
          <a:prstGeom prst="straightConnector1">
            <a:avLst/>
          </a:prstGeom>
          <a:ln w="57150">
            <a:solidFill>
              <a:srgbClr val="FF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8" name="Retângulo 27"/>
          <p:cNvSpPr/>
          <p:nvPr/>
        </p:nvSpPr>
        <p:spPr>
          <a:xfrm>
            <a:off x="15956706" y="3974689"/>
            <a:ext cx="411159" cy="743882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4000" dirty="0"/>
              <a:t>1</a:t>
            </a:r>
          </a:p>
        </p:txBody>
      </p:sp>
      <p:sp>
        <p:nvSpPr>
          <p:cNvPr id="31" name="Retângulo 30"/>
          <p:cNvSpPr/>
          <p:nvPr/>
        </p:nvSpPr>
        <p:spPr>
          <a:xfrm>
            <a:off x="14010760" y="5114869"/>
            <a:ext cx="4538233" cy="357331"/>
          </a:xfrm>
          <a:prstGeom prst="rect">
            <a:avLst/>
          </a:prstGeom>
          <a:noFill/>
          <a:ln w="38100">
            <a:solidFill>
              <a:srgbClr val="FF0000"/>
            </a:solidFill>
            <a:prstDash val="sys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cxnSp>
        <p:nvCxnSpPr>
          <p:cNvPr id="34" name="Conector de seta reta 33"/>
          <p:cNvCxnSpPr/>
          <p:nvPr/>
        </p:nvCxnSpPr>
        <p:spPr>
          <a:xfrm flipH="1">
            <a:off x="15510058" y="4486899"/>
            <a:ext cx="446647" cy="271666"/>
          </a:xfrm>
          <a:prstGeom prst="straightConnector1">
            <a:avLst/>
          </a:prstGeom>
          <a:ln w="57150">
            <a:solidFill>
              <a:srgbClr val="FF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5" name="Retângulo 34"/>
          <p:cNvSpPr/>
          <p:nvPr/>
        </p:nvSpPr>
        <p:spPr>
          <a:xfrm>
            <a:off x="15413143" y="6102355"/>
            <a:ext cx="411159" cy="743882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4000" dirty="0"/>
              <a:t>2</a:t>
            </a:r>
          </a:p>
        </p:txBody>
      </p:sp>
      <p:sp>
        <p:nvSpPr>
          <p:cNvPr id="36" name="Retângulo 35"/>
          <p:cNvSpPr/>
          <p:nvPr/>
        </p:nvSpPr>
        <p:spPr>
          <a:xfrm>
            <a:off x="14010759" y="4698226"/>
            <a:ext cx="1499297" cy="357331"/>
          </a:xfrm>
          <a:prstGeom prst="rect">
            <a:avLst/>
          </a:prstGeom>
          <a:noFill/>
          <a:ln w="38100">
            <a:solidFill>
              <a:srgbClr val="FF0000"/>
            </a:solidFill>
            <a:prstDash val="sys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24686636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Picture 2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081" t="18322" r="14933" b="19643"/>
          <a:stretch/>
        </p:blipFill>
        <p:spPr bwMode="auto">
          <a:xfrm>
            <a:off x="6641585" y="4194799"/>
            <a:ext cx="13059537" cy="660244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graphicFrame>
        <p:nvGraphicFramePr>
          <p:cNvPr id="51" name="Objeto 50" hidden="1">
            <a:extLst>
              <a:ext uri="{FF2B5EF4-FFF2-40B4-BE49-F238E27FC236}">
                <a16:creationId xmlns:a16="http://schemas.microsoft.com/office/drawing/2014/main" id="{7E65BC4C-0858-4F13-A045-BAC5EB65DAD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6" imgW="317" imgH="318" progId="TCLayout.ActiveDocument.1">
                  <p:embed/>
                </p:oleObj>
              </mc:Choice>
              <mc:Fallback>
                <p:oleObj name="Slide do think-cell" r:id="rId6" imgW="317" imgH="318" progId="TCLayout.ActiveDocument.1">
                  <p:embed/>
                  <p:pic>
                    <p:nvPicPr>
                      <p:cNvPr id="51" name="Objeto 50" hidden="1">
                        <a:extLst>
                          <a:ext uri="{FF2B5EF4-FFF2-40B4-BE49-F238E27FC236}">
                            <a16:creationId xmlns:a16="http://schemas.microsoft.com/office/drawing/2014/main" id="{7E65BC4C-0858-4F13-A045-BAC5EB65DA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Retângulo 49" hidden="1">
            <a:extLst>
              <a:ext uri="{FF2B5EF4-FFF2-40B4-BE49-F238E27FC236}">
                <a16:creationId xmlns:a16="http://schemas.microsoft.com/office/drawing/2014/main" id="{B6FD34B5-13C2-49BE-8AF2-FCDC4689AF2B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000">
              <a:latin typeface="Calibri" panose="020F0502020204030204" pitchFamily="34" charset="0"/>
              <a:sym typeface="+mn-lt"/>
            </a:endParaRPr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9CB7E9B1-69E0-4E6D-BF67-AE78100CC5D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9485098" y="10669637"/>
            <a:ext cx="720080" cy="601662"/>
          </a:xfrm>
        </p:spPr>
        <p:txBody>
          <a:bodyPr/>
          <a:lstStyle/>
          <a:p>
            <a:fld id="{BE418F81-F092-F643-8EAE-268022441A30}" type="slidenum">
              <a:rPr lang="en-US" smtClean="0"/>
              <a:pPr/>
              <a:t>18</a:t>
            </a:fld>
            <a:endParaRPr lang="en-US"/>
          </a:p>
        </p:txBody>
      </p:sp>
      <p:sp>
        <p:nvSpPr>
          <p:cNvPr id="9" name="Título 1"/>
          <p:cNvSpPr>
            <a:spLocks noGrp="1"/>
          </p:cNvSpPr>
          <p:nvPr>
            <p:ph type="title"/>
          </p:nvPr>
        </p:nvSpPr>
        <p:spPr>
          <a:xfrm>
            <a:off x="546994" y="758131"/>
            <a:ext cx="17058188" cy="840230"/>
          </a:xfrm>
        </p:spPr>
        <p:txBody>
          <a:bodyPr/>
          <a:lstStyle/>
          <a:p>
            <a:r>
              <a:rPr lang="en-US" sz="5400" dirty="0" err="1">
                <a:solidFill>
                  <a:schemeClr val="accent5">
                    <a:lumMod val="50000"/>
                  </a:schemeClr>
                </a:solidFill>
              </a:rPr>
              <a:t>Instalação</a:t>
            </a:r>
            <a:r>
              <a:rPr lang="en-US" sz="5400" dirty="0">
                <a:solidFill>
                  <a:schemeClr val="accent5">
                    <a:lumMod val="50000"/>
                  </a:schemeClr>
                </a:solidFill>
              </a:rPr>
              <a:t> da Barra de </a:t>
            </a:r>
            <a:r>
              <a:rPr lang="en-US" sz="5400" dirty="0" err="1">
                <a:solidFill>
                  <a:schemeClr val="accent5">
                    <a:lumMod val="50000"/>
                  </a:schemeClr>
                </a:solidFill>
              </a:rPr>
              <a:t>Ferramentas</a:t>
            </a:r>
            <a:r>
              <a:rPr lang="en-US" sz="5400" dirty="0">
                <a:solidFill>
                  <a:schemeClr val="accent5">
                    <a:lumMod val="50000"/>
                  </a:schemeClr>
                </a:solidFill>
              </a:rPr>
              <a:t> do GSTI </a:t>
            </a:r>
          </a:p>
        </p:txBody>
      </p:sp>
      <p:grpSp>
        <p:nvGrpSpPr>
          <p:cNvPr id="12" name="Grupo 11"/>
          <p:cNvGrpSpPr/>
          <p:nvPr/>
        </p:nvGrpSpPr>
        <p:grpSpPr>
          <a:xfrm>
            <a:off x="2635225" y="2054275"/>
            <a:ext cx="13321480" cy="1728192"/>
            <a:chOff x="2507233" y="5222627"/>
            <a:chExt cx="13399460" cy="1276139"/>
          </a:xfrm>
        </p:grpSpPr>
        <p:grpSp>
          <p:nvGrpSpPr>
            <p:cNvPr id="60" name="Grupo 59"/>
            <p:cNvGrpSpPr/>
            <p:nvPr/>
          </p:nvGrpSpPr>
          <p:grpSpPr>
            <a:xfrm>
              <a:off x="2507233" y="5222627"/>
              <a:ext cx="3190347" cy="1276139"/>
              <a:chOff x="1636" y="3829508"/>
              <a:chExt cx="3190347" cy="1276139"/>
            </a:xfrm>
          </p:grpSpPr>
          <p:sp>
            <p:nvSpPr>
              <p:cNvPr id="73" name="Pentágono 72"/>
              <p:cNvSpPr/>
              <p:nvPr/>
            </p:nvSpPr>
            <p:spPr>
              <a:xfrm>
                <a:off x="1636" y="3829508"/>
                <a:ext cx="3190347" cy="1276139"/>
              </a:xfrm>
              <a:prstGeom prst="homePlate">
                <a:avLst/>
              </a:prstGeom>
              <a:solidFill>
                <a:schemeClr val="bg1">
                  <a:lumMod val="65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74" name="Pentágono 4"/>
              <p:cNvSpPr/>
              <p:nvPr/>
            </p:nvSpPr>
            <p:spPr>
              <a:xfrm>
                <a:off x="1636" y="3829508"/>
                <a:ext cx="2871312" cy="1276139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106680" tIns="53340" rIns="26670" bIns="53340" numCol="1" spcCol="1270" anchor="ctr" anchorCtr="0">
                <a:no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pt-BR" kern="1200" dirty="0"/>
                  <a:t>1. Exclusão de todas as personalizações</a:t>
                </a:r>
              </a:p>
            </p:txBody>
          </p:sp>
        </p:grpSp>
        <p:grpSp>
          <p:nvGrpSpPr>
            <p:cNvPr id="61" name="Grupo 60"/>
            <p:cNvGrpSpPr/>
            <p:nvPr/>
          </p:nvGrpSpPr>
          <p:grpSpPr>
            <a:xfrm>
              <a:off x="5059511" y="5222627"/>
              <a:ext cx="3190347" cy="1276139"/>
              <a:chOff x="2553914" y="3829508"/>
              <a:chExt cx="3190347" cy="1276139"/>
            </a:xfrm>
          </p:grpSpPr>
          <p:sp>
            <p:nvSpPr>
              <p:cNvPr id="71" name="Divisa 70"/>
              <p:cNvSpPr/>
              <p:nvPr/>
            </p:nvSpPr>
            <p:spPr>
              <a:xfrm>
                <a:off x="2553914" y="3829508"/>
                <a:ext cx="3190347" cy="1276139"/>
              </a:xfrm>
              <a:prstGeom prst="chevron">
                <a:avLst/>
              </a:prstGeom>
              <a:solidFill>
                <a:schemeClr val="bg1">
                  <a:lumMod val="65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72" name="Divisa 6"/>
              <p:cNvSpPr/>
              <p:nvPr/>
            </p:nvSpPr>
            <p:spPr>
              <a:xfrm>
                <a:off x="3260965" y="3829508"/>
                <a:ext cx="1914208" cy="1276139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80010" tIns="53340" rIns="26670" bIns="53340" numCol="1" spcCol="1270" anchor="ctr" anchorCtr="0">
                <a:no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pt-BR" sz="2000" kern="1200" dirty="0"/>
                  <a:t>2. Exclusão dos módulos e formulários existentes </a:t>
                </a:r>
              </a:p>
            </p:txBody>
          </p:sp>
        </p:grpSp>
        <p:grpSp>
          <p:nvGrpSpPr>
            <p:cNvPr id="62" name="Grupo 61"/>
            <p:cNvGrpSpPr/>
            <p:nvPr/>
          </p:nvGrpSpPr>
          <p:grpSpPr>
            <a:xfrm>
              <a:off x="7611789" y="5222627"/>
              <a:ext cx="3190347" cy="1276139"/>
              <a:chOff x="5106192" y="3829508"/>
              <a:chExt cx="3190347" cy="1276139"/>
            </a:xfrm>
          </p:grpSpPr>
          <p:sp>
            <p:nvSpPr>
              <p:cNvPr id="69" name="Divisa 68"/>
              <p:cNvSpPr/>
              <p:nvPr/>
            </p:nvSpPr>
            <p:spPr>
              <a:xfrm>
                <a:off x="5106192" y="3829508"/>
                <a:ext cx="3190347" cy="1276139"/>
              </a:xfrm>
              <a:prstGeom prst="chevron">
                <a:avLst/>
              </a:prstGeom>
              <a:solidFill>
                <a:schemeClr val="bg1">
                  <a:lumMod val="65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70" name="Divisa 8"/>
              <p:cNvSpPr/>
              <p:nvPr/>
            </p:nvSpPr>
            <p:spPr>
              <a:xfrm>
                <a:off x="5909817" y="3829508"/>
                <a:ext cx="1914208" cy="1276139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80010" tIns="53340" rIns="26670" bIns="53340" numCol="1" spcCol="1270" anchor="ctr" anchorCtr="0">
                <a:no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pt-BR" sz="2000" kern="1200" dirty="0"/>
                  <a:t>3. Importação de novos módulos</a:t>
                </a:r>
              </a:p>
            </p:txBody>
          </p:sp>
        </p:grpSp>
        <p:grpSp>
          <p:nvGrpSpPr>
            <p:cNvPr id="63" name="Grupo 62"/>
            <p:cNvGrpSpPr/>
            <p:nvPr/>
          </p:nvGrpSpPr>
          <p:grpSpPr>
            <a:xfrm>
              <a:off x="10164067" y="5222627"/>
              <a:ext cx="3190347" cy="1276139"/>
              <a:chOff x="7658470" y="3829508"/>
              <a:chExt cx="3190347" cy="1276139"/>
            </a:xfrm>
          </p:grpSpPr>
          <p:sp>
            <p:nvSpPr>
              <p:cNvPr id="67" name="Divisa 66"/>
              <p:cNvSpPr/>
              <p:nvPr/>
            </p:nvSpPr>
            <p:spPr>
              <a:xfrm>
                <a:off x="7658470" y="3829508"/>
                <a:ext cx="3190347" cy="1276139"/>
              </a:xfrm>
              <a:prstGeom prst="chevron">
                <a:avLst/>
              </a:prstGeom>
              <a:solidFill>
                <a:schemeClr val="bg1">
                  <a:lumMod val="65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pt-BR" dirty="0"/>
              </a:p>
            </p:txBody>
          </p:sp>
          <p:sp>
            <p:nvSpPr>
              <p:cNvPr id="68" name="Divisa 10"/>
              <p:cNvSpPr/>
              <p:nvPr/>
            </p:nvSpPr>
            <p:spPr>
              <a:xfrm>
                <a:off x="8296540" y="3829508"/>
                <a:ext cx="1914208" cy="1276139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80010" tIns="53340" rIns="26670" bIns="53340" numCol="1" spcCol="1270" anchor="ctr" anchorCtr="0">
                <a:no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pt-BR" kern="1200" dirty="0"/>
                  <a:t>4. Importação da barra de ferramentas GSTI</a:t>
                </a:r>
              </a:p>
            </p:txBody>
          </p:sp>
        </p:grpSp>
        <p:grpSp>
          <p:nvGrpSpPr>
            <p:cNvPr id="64" name="Grupo 63"/>
            <p:cNvGrpSpPr/>
            <p:nvPr/>
          </p:nvGrpSpPr>
          <p:grpSpPr>
            <a:xfrm>
              <a:off x="12716346" y="5222627"/>
              <a:ext cx="3190347" cy="1276139"/>
              <a:chOff x="10210749" y="3829508"/>
              <a:chExt cx="3190347" cy="1276139"/>
            </a:xfrm>
          </p:grpSpPr>
          <p:sp>
            <p:nvSpPr>
              <p:cNvPr id="65" name="Divisa 64"/>
              <p:cNvSpPr/>
              <p:nvPr/>
            </p:nvSpPr>
            <p:spPr>
              <a:xfrm>
                <a:off x="10210749" y="3829508"/>
                <a:ext cx="3190347" cy="1276139"/>
              </a:xfrm>
              <a:prstGeom prst="chevron">
                <a:avLst/>
              </a:prstGeom>
              <a:solidFill>
                <a:schemeClr val="accent1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66" name="Divisa 12"/>
              <p:cNvSpPr/>
              <p:nvPr/>
            </p:nvSpPr>
            <p:spPr>
              <a:xfrm>
                <a:off x="11037625" y="3829508"/>
                <a:ext cx="1914208" cy="1276139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80010" tIns="53340" rIns="26670" bIns="53340" numCol="1" spcCol="1270" anchor="ctr" anchorCtr="0">
                <a:no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pt-BR" sz="2000" kern="1200" dirty="0"/>
                  <a:t>5. Marcar a </a:t>
                </a:r>
                <a:r>
                  <a:rPr lang="pt-BR" sz="2000" kern="1200" dirty="0" err="1"/>
                  <a:t>dll</a:t>
                </a:r>
                <a:r>
                  <a:rPr lang="pt-BR" sz="2000" kern="1200" dirty="0"/>
                  <a:t> do </a:t>
                </a:r>
                <a:r>
                  <a:rPr lang="pt-BR" sz="2000" kern="1200" dirty="0" err="1"/>
                  <a:t>excel</a:t>
                </a:r>
                <a:r>
                  <a:rPr lang="pt-BR" sz="2000" kern="1200" dirty="0"/>
                  <a:t>  dentro do Project</a:t>
                </a:r>
              </a:p>
            </p:txBody>
          </p:sp>
        </p:grpSp>
      </p:grpSp>
      <p:sp>
        <p:nvSpPr>
          <p:cNvPr id="29" name="Retângulo de cantos arredondados 28"/>
          <p:cNvSpPr/>
          <p:nvPr/>
        </p:nvSpPr>
        <p:spPr>
          <a:xfrm>
            <a:off x="619002" y="4646563"/>
            <a:ext cx="5472608" cy="5673907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30" name="CaixaDeTexto 29"/>
          <p:cNvSpPr txBox="1"/>
          <p:nvPr/>
        </p:nvSpPr>
        <p:spPr>
          <a:xfrm>
            <a:off x="943038" y="4823092"/>
            <a:ext cx="5040560" cy="44319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pt-BR" sz="3600" dirty="0">
                <a:solidFill>
                  <a:srgbClr val="000000"/>
                </a:solidFill>
              </a:rPr>
              <a:t>Marque a referência: Microsoft Excel 14.0 </a:t>
            </a:r>
            <a:r>
              <a:rPr lang="pt-BR" sz="3600" dirty="0" err="1">
                <a:solidFill>
                  <a:srgbClr val="000000"/>
                </a:solidFill>
              </a:rPr>
              <a:t>Object</a:t>
            </a:r>
            <a:r>
              <a:rPr lang="pt-BR" sz="3600" dirty="0">
                <a:solidFill>
                  <a:srgbClr val="000000"/>
                </a:solidFill>
              </a:rPr>
              <a:t> Library</a:t>
            </a:r>
          </a:p>
          <a:p>
            <a:pPr marL="342900" indent="-342900">
              <a:buFont typeface="+mj-lt"/>
              <a:buAutoNum type="arabicPeriod"/>
            </a:pPr>
            <a:endParaRPr lang="pt-BR" sz="1500" dirty="0">
              <a:solidFill>
                <a:srgbClr val="000000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pt-BR" sz="3600" dirty="0">
                <a:solidFill>
                  <a:srgbClr val="000000"/>
                </a:solidFill>
              </a:rPr>
              <a:t>Clique em “OK”</a:t>
            </a:r>
          </a:p>
          <a:p>
            <a:pPr marL="342900" indent="-342900">
              <a:buFont typeface="+mj-lt"/>
              <a:buAutoNum type="arabicPeriod"/>
            </a:pPr>
            <a:endParaRPr lang="pt-BR" sz="1500" dirty="0">
              <a:solidFill>
                <a:srgbClr val="000000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pt-BR" sz="3600" dirty="0">
                <a:solidFill>
                  <a:srgbClr val="000000"/>
                </a:solidFill>
              </a:rPr>
              <a:t>Salvar no símbolo do disquete as mudanças feitas no Visual Basic</a:t>
            </a:r>
          </a:p>
        </p:txBody>
      </p:sp>
      <p:sp>
        <p:nvSpPr>
          <p:cNvPr id="32" name="Título 1"/>
          <p:cNvSpPr txBox="1">
            <a:spLocks/>
          </p:cNvSpPr>
          <p:nvPr/>
        </p:nvSpPr>
        <p:spPr>
          <a:xfrm>
            <a:off x="835028" y="4215234"/>
            <a:ext cx="5806557" cy="48013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47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936" kern="1200" baseline="0">
                <a:solidFill>
                  <a:srgbClr val="006067"/>
                </a:solidFill>
                <a:latin typeface="Agenda Medium" charset="0"/>
                <a:ea typeface="Agenda Medium" charset="0"/>
                <a:cs typeface="Agenda Medium" charset="0"/>
              </a:defRPr>
            </a:lvl1pPr>
          </a:lstStyle>
          <a:p>
            <a:r>
              <a:rPr lang="en-US" sz="2800" dirty="0">
                <a:solidFill>
                  <a:schemeClr val="accent5">
                    <a:lumMod val="50000"/>
                  </a:schemeClr>
                </a:solidFill>
                <a:latin typeface="+mn-lt"/>
              </a:rPr>
              <a:t>5.3)</a:t>
            </a:r>
            <a:r>
              <a:rPr lang="en-US" sz="2800" dirty="0" err="1">
                <a:solidFill>
                  <a:schemeClr val="accent5">
                    <a:lumMod val="50000"/>
                  </a:schemeClr>
                </a:solidFill>
                <a:latin typeface="+mn-lt"/>
              </a:rPr>
              <a:t>Adicionar</a:t>
            </a:r>
            <a:r>
              <a:rPr lang="en-US" sz="2800" dirty="0">
                <a:solidFill>
                  <a:schemeClr val="accent5">
                    <a:lumMod val="50000"/>
                  </a:schemeClr>
                </a:solidFill>
                <a:latin typeface="+mn-lt"/>
              </a:rPr>
              <a:t> Microsoft Excel</a:t>
            </a:r>
          </a:p>
        </p:txBody>
      </p:sp>
      <p:sp>
        <p:nvSpPr>
          <p:cNvPr id="33" name="CaixaDeTexto 32"/>
          <p:cNvSpPr txBox="1"/>
          <p:nvPr/>
        </p:nvSpPr>
        <p:spPr>
          <a:xfrm>
            <a:off x="546994" y="10263187"/>
            <a:ext cx="573039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pt-BR" sz="2000" dirty="0" err="1">
                <a:solidFill>
                  <a:srgbClr val="FF0000"/>
                </a:solidFill>
              </a:rPr>
              <a:t>Obs</a:t>
            </a:r>
            <a:r>
              <a:rPr lang="pt-BR" sz="2000" dirty="0">
                <a:solidFill>
                  <a:srgbClr val="FF0000"/>
                </a:solidFill>
              </a:rPr>
              <a:t>: Em alguns computadores, pode ser que a referência 14.0 não exista. Neste caso, marque a referência mais </a:t>
            </a:r>
            <a:r>
              <a:rPr lang="pt-BR" sz="2000">
                <a:solidFill>
                  <a:srgbClr val="FF0000"/>
                </a:solidFill>
              </a:rPr>
              <a:t>próxima (16.0, 12.0 </a:t>
            </a:r>
            <a:r>
              <a:rPr lang="pt-BR" sz="2000" dirty="0">
                <a:solidFill>
                  <a:srgbClr val="FF0000"/>
                </a:solidFill>
              </a:rPr>
              <a:t>ou 10.0)</a:t>
            </a:r>
          </a:p>
        </p:txBody>
      </p:sp>
      <p:sp>
        <p:nvSpPr>
          <p:cNvPr id="39" name="Retângulo 38"/>
          <p:cNvSpPr/>
          <p:nvPr/>
        </p:nvSpPr>
        <p:spPr>
          <a:xfrm>
            <a:off x="8807478" y="4646563"/>
            <a:ext cx="411159" cy="743882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4000" dirty="0"/>
              <a:t>3</a:t>
            </a:r>
          </a:p>
        </p:txBody>
      </p:sp>
      <p:cxnSp>
        <p:nvCxnSpPr>
          <p:cNvPr id="40" name="Conector de seta reta 39"/>
          <p:cNvCxnSpPr>
            <a:stCxn id="39" idx="1"/>
            <a:endCxn id="41" idx="3"/>
          </p:cNvCxnSpPr>
          <p:nvPr/>
        </p:nvCxnSpPr>
        <p:spPr>
          <a:xfrm flipH="1">
            <a:off x="8035826" y="5018504"/>
            <a:ext cx="771652" cy="55096"/>
          </a:xfrm>
          <a:prstGeom prst="straightConnector1">
            <a:avLst/>
          </a:prstGeom>
          <a:ln w="57150">
            <a:solidFill>
              <a:srgbClr val="FF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1" name="Retângulo 40"/>
          <p:cNvSpPr/>
          <p:nvPr/>
        </p:nvSpPr>
        <p:spPr>
          <a:xfrm>
            <a:off x="7559105" y="4894934"/>
            <a:ext cx="476721" cy="357331"/>
          </a:xfrm>
          <a:prstGeom prst="rect">
            <a:avLst/>
          </a:prstGeom>
          <a:noFill/>
          <a:ln w="38100">
            <a:solidFill>
              <a:srgbClr val="FF0000"/>
            </a:solidFill>
            <a:prstDash val="sys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pic>
        <p:nvPicPr>
          <p:cNvPr id="52234" name="Picture 10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44058" y="4853652"/>
            <a:ext cx="7325862" cy="59704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7" name="Conector de seta reta 26"/>
          <p:cNvCxnSpPr>
            <a:stCxn id="35" idx="3"/>
            <a:endCxn id="31" idx="1"/>
          </p:cNvCxnSpPr>
          <p:nvPr/>
        </p:nvCxnSpPr>
        <p:spPr>
          <a:xfrm flipV="1">
            <a:off x="15215737" y="5703935"/>
            <a:ext cx="481482" cy="178665"/>
          </a:xfrm>
          <a:prstGeom prst="straightConnector1">
            <a:avLst/>
          </a:prstGeom>
          <a:ln w="57150">
            <a:solidFill>
              <a:srgbClr val="FF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8" name="Retângulo 27"/>
          <p:cNvSpPr/>
          <p:nvPr/>
        </p:nvSpPr>
        <p:spPr>
          <a:xfrm>
            <a:off x="9200696" y="6590779"/>
            <a:ext cx="411159" cy="743882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4000" dirty="0"/>
              <a:t>1</a:t>
            </a:r>
          </a:p>
        </p:txBody>
      </p:sp>
      <p:sp>
        <p:nvSpPr>
          <p:cNvPr id="31" name="Retângulo 30"/>
          <p:cNvSpPr/>
          <p:nvPr/>
        </p:nvSpPr>
        <p:spPr>
          <a:xfrm>
            <a:off x="15697219" y="5525269"/>
            <a:ext cx="1512168" cy="357331"/>
          </a:xfrm>
          <a:prstGeom prst="rect">
            <a:avLst/>
          </a:prstGeom>
          <a:noFill/>
          <a:ln w="38100">
            <a:solidFill>
              <a:srgbClr val="FF0000"/>
            </a:solidFill>
            <a:prstDash val="sys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cxnSp>
        <p:nvCxnSpPr>
          <p:cNvPr id="34" name="Conector de seta reta 33"/>
          <p:cNvCxnSpPr>
            <a:stCxn id="28" idx="3"/>
          </p:cNvCxnSpPr>
          <p:nvPr/>
        </p:nvCxnSpPr>
        <p:spPr>
          <a:xfrm>
            <a:off x="9611855" y="6962720"/>
            <a:ext cx="427453" cy="16476"/>
          </a:xfrm>
          <a:prstGeom prst="straightConnector1">
            <a:avLst/>
          </a:prstGeom>
          <a:ln w="57150">
            <a:solidFill>
              <a:srgbClr val="FF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5" name="Retângulo 34"/>
          <p:cNvSpPr/>
          <p:nvPr/>
        </p:nvSpPr>
        <p:spPr>
          <a:xfrm>
            <a:off x="14804578" y="5510659"/>
            <a:ext cx="411159" cy="743882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4000" dirty="0"/>
              <a:t>2</a:t>
            </a:r>
          </a:p>
        </p:txBody>
      </p:sp>
      <p:sp>
        <p:nvSpPr>
          <p:cNvPr id="36" name="Retângulo 35"/>
          <p:cNvSpPr/>
          <p:nvPr/>
        </p:nvSpPr>
        <p:spPr>
          <a:xfrm>
            <a:off x="10039308" y="6863556"/>
            <a:ext cx="4519215" cy="231279"/>
          </a:xfrm>
          <a:prstGeom prst="rect">
            <a:avLst/>
          </a:prstGeom>
          <a:noFill/>
          <a:ln w="38100">
            <a:solidFill>
              <a:srgbClr val="FF0000"/>
            </a:solidFill>
            <a:prstDash val="sys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cxnSp>
        <p:nvCxnSpPr>
          <p:cNvPr id="6" name="Conector reto 5"/>
          <p:cNvCxnSpPr/>
          <p:nvPr/>
        </p:nvCxnSpPr>
        <p:spPr>
          <a:xfrm>
            <a:off x="10247499" y="6863556"/>
            <a:ext cx="164591" cy="175527"/>
          </a:xfrm>
          <a:prstGeom prst="line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8" name="Conector reto 7"/>
          <p:cNvCxnSpPr/>
          <p:nvPr/>
        </p:nvCxnSpPr>
        <p:spPr>
          <a:xfrm flipV="1">
            <a:off x="10247499" y="6863556"/>
            <a:ext cx="164591" cy="175527"/>
          </a:xfrm>
          <a:prstGeom prst="line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6037163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" name="Objeto 50" hidden="1">
            <a:extLst>
              <a:ext uri="{FF2B5EF4-FFF2-40B4-BE49-F238E27FC236}">
                <a16:creationId xmlns:a16="http://schemas.microsoft.com/office/drawing/2014/main" id="{7E65BC4C-0858-4F13-A045-BAC5EB65DAD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5" imgW="317" imgH="318" progId="TCLayout.ActiveDocument.1">
                  <p:embed/>
                </p:oleObj>
              </mc:Choice>
              <mc:Fallback>
                <p:oleObj name="Slide do think-cell" r:id="rId5" imgW="317" imgH="318" progId="TCLayout.ActiveDocument.1">
                  <p:embed/>
                  <p:pic>
                    <p:nvPicPr>
                      <p:cNvPr id="51" name="Objeto 50" hidden="1">
                        <a:extLst>
                          <a:ext uri="{FF2B5EF4-FFF2-40B4-BE49-F238E27FC236}">
                            <a16:creationId xmlns:a16="http://schemas.microsoft.com/office/drawing/2014/main" id="{7E65BC4C-0858-4F13-A045-BAC5EB65DA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Retângulo 49" hidden="1">
            <a:extLst>
              <a:ext uri="{FF2B5EF4-FFF2-40B4-BE49-F238E27FC236}">
                <a16:creationId xmlns:a16="http://schemas.microsoft.com/office/drawing/2014/main" id="{B6FD34B5-13C2-49BE-8AF2-FCDC4689AF2B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000">
              <a:latin typeface="Calibri" panose="020F0502020204030204" pitchFamily="34" charset="0"/>
              <a:sym typeface="+mn-lt"/>
            </a:endParaRPr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9CB7E9B1-69E0-4E6D-BF67-AE78100CC5D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fld id="{BE418F81-F092-F643-8EAE-268022441A30}" type="slidenum">
              <a:rPr lang="en-US" smtClean="0"/>
              <a:pPr/>
              <a:t>19</a:t>
            </a:fld>
            <a:endParaRPr lang="en-US"/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92BBD7BB-D8FC-4F8C-BBF3-3A12CDFB8784}"/>
              </a:ext>
            </a:extLst>
          </p:cNvPr>
          <p:cNvSpPr txBox="1">
            <a:spLocks/>
          </p:cNvSpPr>
          <p:nvPr/>
        </p:nvSpPr>
        <p:spPr>
          <a:xfrm>
            <a:off x="1267074" y="175132"/>
            <a:ext cx="12839999" cy="9298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5442" b="1" spc="163" dirty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Open Sans" panose="020B0606030504020204" pitchFamily="34" charset="0"/>
                <a:cs typeface="Open Sans" panose="020B0606030504020204" pitchFamily="34" charset="0"/>
              </a:rPr>
              <a:t>Thank You!! </a:t>
            </a:r>
            <a:r>
              <a:rPr lang="pt-BR" sz="5442" b="1" spc="163" dirty="0" err="1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Open Sans" panose="020B0606030504020204" pitchFamily="34" charset="0"/>
                <a:cs typeface="Open Sans" panose="020B0606030504020204" pitchFamily="34" charset="0"/>
              </a:rPr>
              <a:t>Visit</a:t>
            </a:r>
            <a:r>
              <a:rPr lang="pt-BR" sz="5442" b="1" spc="163" dirty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pt-BR" sz="5442" b="1" u="sng" spc="163" dirty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Open Sans" panose="020B0606030504020204" pitchFamily="34" charset="0"/>
                <a:cs typeface="Open Sans" panose="020B0606030504020204" pitchFamily="34" charset="0"/>
              </a:rPr>
              <a:t>cbmm.com</a:t>
            </a:r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4CA86A42-3D4B-44D2-9C1F-11081AE5AF0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998" y="1367372"/>
            <a:ext cx="20059164" cy="9039831"/>
          </a:xfrm>
          <a:prstGeom prst="rect">
            <a:avLst/>
          </a:prstGeom>
        </p:spPr>
      </p:pic>
      <p:pic>
        <p:nvPicPr>
          <p:cNvPr id="10" name="Imagem 9">
            <a:extLst>
              <a:ext uri="{FF2B5EF4-FFF2-40B4-BE49-F238E27FC236}">
                <a16:creationId xmlns:a16="http://schemas.microsoft.com/office/drawing/2014/main" id="{964A4238-E2DE-48F6-9034-A47534EED088}"/>
              </a:ext>
            </a:extLst>
          </p:cNvPr>
          <p:cNvPicPr>
            <a:picLocks/>
          </p:cNvPicPr>
          <p:nvPr/>
        </p:nvPicPr>
        <p:blipFill>
          <a:blip r:embed="rId8"/>
          <a:stretch>
            <a:fillRect/>
          </a:stretch>
        </p:blipFill>
        <p:spPr>
          <a:xfrm>
            <a:off x="-34442" y="10407202"/>
            <a:ext cx="20138542" cy="902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613336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" name="Objeto 50" hidden="1">
            <a:extLst>
              <a:ext uri="{FF2B5EF4-FFF2-40B4-BE49-F238E27FC236}">
                <a16:creationId xmlns:a16="http://schemas.microsoft.com/office/drawing/2014/main" id="{7E65BC4C-0858-4F13-A045-BAC5EB65DAD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5" imgW="317" imgH="318" progId="TCLayout.ActiveDocument.1">
                  <p:embed/>
                </p:oleObj>
              </mc:Choice>
              <mc:Fallback>
                <p:oleObj name="Slide do think-cell" r:id="rId5" imgW="317" imgH="318" progId="TCLayout.ActiveDocument.1">
                  <p:embed/>
                  <p:pic>
                    <p:nvPicPr>
                      <p:cNvPr id="51" name="Objeto 50" hidden="1">
                        <a:extLst>
                          <a:ext uri="{FF2B5EF4-FFF2-40B4-BE49-F238E27FC236}">
                            <a16:creationId xmlns:a16="http://schemas.microsoft.com/office/drawing/2014/main" id="{7E65BC4C-0858-4F13-A045-BAC5EB65DA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Retângulo 49" hidden="1">
            <a:extLst>
              <a:ext uri="{FF2B5EF4-FFF2-40B4-BE49-F238E27FC236}">
                <a16:creationId xmlns:a16="http://schemas.microsoft.com/office/drawing/2014/main" id="{B6FD34B5-13C2-49BE-8AF2-FCDC4689AF2B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000">
              <a:latin typeface="Calibri" panose="020F0502020204030204" pitchFamily="34" charset="0"/>
              <a:sym typeface="+mn-lt"/>
            </a:endParaRPr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9CB7E9B1-69E0-4E6D-BF67-AE78100CC5D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9485098" y="10669637"/>
            <a:ext cx="720080" cy="601662"/>
          </a:xfrm>
        </p:spPr>
        <p:txBody>
          <a:bodyPr/>
          <a:lstStyle/>
          <a:p>
            <a:fld id="{BE418F81-F092-F643-8EAE-268022441A30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9" name="Título 1"/>
          <p:cNvSpPr>
            <a:spLocks noGrp="1"/>
          </p:cNvSpPr>
          <p:nvPr>
            <p:ph type="title"/>
          </p:nvPr>
        </p:nvSpPr>
        <p:spPr>
          <a:xfrm>
            <a:off x="546994" y="758131"/>
            <a:ext cx="17058188" cy="840230"/>
          </a:xfrm>
        </p:spPr>
        <p:txBody>
          <a:bodyPr/>
          <a:lstStyle/>
          <a:p>
            <a:r>
              <a:rPr lang="en-US" sz="5400" dirty="0" err="1">
                <a:solidFill>
                  <a:schemeClr val="accent5">
                    <a:lumMod val="50000"/>
                  </a:schemeClr>
                </a:solidFill>
              </a:rPr>
              <a:t>Instalação</a:t>
            </a:r>
            <a:r>
              <a:rPr lang="en-US" sz="5400" dirty="0">
                <a:solidFill>
                  <a:schemeClr val="accent5">
                    <a:lumMod val="50000"/>
                  </a:schemeClr>
                </a:solidFill>
              </a:rPr>
              <a:t> da Barra de </a:t>
            </a:r>
            <a:r>
              <a:rPr lang="en-US" sz="5400" dirty="0" err="1">
                <a:solidFill>
                  <a:schemeClr val="accent5">
                    <a:lumMod val="50000"/>
                  </a:schemeClr>
                </a:solidFill>
              </a:rPr>
              <a:t>Ferramentas</a:t>
            </a:r>
            <a:r>
              <a:rPr lang="en-US" sz="5400" dirty="0">
                <a:solidFill>
                  <a:schemeClr val="accent5">
                    <a:lumMod val="50000"/>
                  </a:schemeClr>
                </a:solidFill>
              </a:rPr>
              <a:t> do GSTI </a:t>
            </a:r>
          </a:p>
        </p:txBody>
      </p:sp>
      <p:sp>
        <p:nvSpPr>
          <p:cNvPr id="8" name="Espaço Reservado para Texto 7"/>
          <p:cNvSpPr txBox="1">
            <a:spLocks/>
          </p:cNvSpPr>
          <p:nvPr/>
        </p:nvSpPr>
        <p:spPr>
          <a:xfrm>
            <a:off x="633654" y="1809031"/>
            <a:ext cx="19139476" cy="749300"/>
          </a:xfrm>
          <a:prstGeom prst="rect">
            <a:avLst/>
          </a:prstGeom>
        </p:spPr>
        <p:txBody>
          <a:bodyPr/>
          <a:lstStyle>
            <a:lvl1pPr marL="0" marR="0" indent="0" algn="l" defTabSz="34289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 lang="pt-BR" sz="1200" b="0" u="none" kern="1200" baseline="0">
                <a:solidFill>
                  <a:schemeClr val="tx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  <a:lvl2pPr marL="342891" indent="0" algn="l" defTabSz="342892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lang="pt-BR" sz="3300" kern="120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2pPr>
            <a:lvl3pPr marL="685782" indent="0" algn="l" defTabSz="342892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lang="pt-BR" sz="3300" kern="120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3pPr>
            <a:lvl4pPr marL="1028674" indent="0" algn="l" defTabSz="342892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lang="pt-BR" sz="3300" kern="120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4pPr>
            <a:lvl5pPr marL="1371566" indent="0" algn="l" defTabSz="342892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lang="pt-BR" sz="33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pt-BR" sz="3600" dirty="0">
                <a:latin typeface="Calibri" panose="020F0502020204030204" pitchFamily="34" charset="0"/>
              </a:rPr>
              <a:t>Para a instalação da barra de ferramentas são necessários 5 etapas</a:t>
            </a:r>
          </a:p>
        </p:txBody>
      </p:sp>
      <p:grpSp>
        <p:nvGrpSpPr>
          <p:cNvPr id="2" name="Agrupar 1">
            <a:extLst>
              <a:ext uri="{FF2B5EF4-FFF2-40B4-BE49-F238E27FC236}">
                <a16:creationId xmlns:a16="http://schemas.microsoft.com/office/drawing/2014/main" id="{39BFDADC-CB67-4A4B-B458-CFEE70FCE29E}"/>
              </a:ext>
            </a:extLst>
          </p:cNvPr>
          <p:cNvGrpSpPr/>
          <p:nvPr/>
        </p:nvGrpSpPr>
        <p:grpSpPr>
          <a:xfrm>
            <a:off x="2507232" y="4646563"/>
            <a:ext cx="15033649" cy="2387342"/>
            <a:chOff x="2507232" y="4646563"/>
            <a:chExt cx="15033649" cy="2387342"/>
          </a:xfrm>
        </p:grpSpPr>
        <p:grpSp>
          <p:nvGrpSpPr>
            <p:cNvPr id="12" name="Grupo 11"/>
            <p:cNvGrpSpPr/>
            <p:nvPr/>
          </p:nvGrpSpPr>
          <p:grpSpPr>
            <a:xfrm>
              <a:off x="2507232" y="4646563"/>
              <a:ext cx="15033649" cy="1852203"/>
              <a:chOff x="2507233" y="5222627"/>
              <a:chExt cx="13399460" cy="1276139"/>
            </a:xfrm>
          </p:grpSpPr>
          <p:grpSp>
            <p:nvGrpSpPr>
              <p:cNvPr id="60" name="Grupo 59"/>
              <p:cNvGrpSpPr/>
              <p:nvPr/>
            </p:nvGrpSpPr>
            <p:grpSpPr>
              <a:xfrm>
                <a:off x="2507233" y="5222627"/>
                <a:ext cx="3190347" cy="1276139"/>
                <a:chOff x="1636" y="3829508"/>
                <a:chExt cx="3190347" cy="1276139"/>
              </a:xfrm>
            </p:grpSpPr>
            <p:sp>
              <p:nvSpPr>
                <p:cNvPr id="73" name="Pentágono 72"/>
                <p:cNvSpPr/>
                <p:nvPr/>
              </p:nvSpPr>
              <p:spPr>
                <a:xfrm>
                  <a:off x="1636" y="3829508"/>
                  <a:ext cx="3190347" cy="1276139"/>
                </a:xfrm>
                <a:prstGeom prst="homePlate">
                  <a:avLst/>
                </a:pr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</p:sp>
            <p:sp>
              <p:nvSpPr>
                <p:cNvPr id="74" name="Pentágono 4"/>
                <p:cNvSpPr/>
                <p:nvPr/>
              </p:nvSpPr>
              <p:spPr>
                <a:xfrm>
                  <a:off x="1636" y="3829508"/>
                  <a:ext cx="2871312" cy="1276139"/>
                </a:xfrm>
                <a:prstGeom prst="rect">
                  <a:avLst/>
                </a:prstGeom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spcFirstLastPara="0" vert="horz" wrap="square" lIns="106680" tIns="53340" rIns="26670" bIns="53340" numCol="1" spcCol="1270" anchor="ctr" anchorCtr="0">
                  <a:noAutofit/>
                </a:bodyPr>
                <a:lstStyle/>
                <a:p>
                  <a:pPr lvl="0" algn="ctr" defTabSz="8890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pt-BR" sz="2400" kern="1200" dirty="0"/>
                    <a:t>1. Exclusão de todas as personalizações</a:t>
                  </a:r>
                </a:p>
              </p:txBody>
            </p:sp>
          </p:grpSp>
          <p:grpSp>
            <p:nvGrpSpPr>
              <p:cNvPr id="61" name="Grupo 60"/>
              <p:cNvGrpSpPr/>
              <p:nvPr/>
            </p:nvGrpSpPr>
            <p:grpSpPr>
              <a:xfrm>
                <a:off x="5059511" y="5222627"/>
                <a:ext cx="3190347" cy="1276139"/>
                <a:chOff x="2553914" y="3829508"/>
                <a:chExt cx="3190347" cy="1276139"/>
              </a:xfrm>
            </p:grpSpPr>
            <p:sp>
              <p:nvSpPr>
                <p:cNvPr id="71" name="Divisa 70"/>
                <p:cNvSpPr/>
                <p:nvPr/>
              </p:nvSpPr>
              <p:spPr>
                <a:xfrm>
                  <a:off x="2553914" y="3829508"/>
                  <a:ext cx="3190347" cy="1276139"/>
                </a:xfrm>
                <a:prstGeom prst="chevron">
                  <a:avLst/>
                </a:prstGeom>
                <a:solidFill>
                  <a:schemeClr val="accent1"/>
                </a:solidFill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</p:sp>
            <p:sp>
              <p:nvSpPr>
                <p:cNvPr id="72" name="Divisa 6"/>
                <p:cNvSpPr/>
                <p:nvPr/>
              </p:nvSpPr>
              <p:spPr>
                <a:xfrm>
                  <a:off x="3191984" y="3829508"/>
                  <a:ext cx="1914208" cy="1276139"/>
                </a:xfrm>
                <a:prstGeom prst="rect">
                  <a:avLst/>
                </a:prstGeom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spcFirstLastPara="0" vert="horz" wrap="square" lIns="80010" tIns="53340" rIns="26670" bIns="53340" numCol="1" spcCol="1270" anchor="ctr" anchorCtr="0">
                  <a:noAutofit/>
                </a:bodyPr>
                <a:lstStyle/>
                <a:p>
                  <a:pPr lvl="0" algn="ctr" defTabSz="8890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pt-BR" sz="2400" kern="1200" dirty="0"/>
                    <a:t>2. Exclusão dos módulos e formulários existentes (VB)</a:t>
                  </a:r>
                </a:p>
              </p:txBody>
            </p:sp>
          </p:grpSp>
          <p:grpSp>
            <p:nvGrpSpPr>
              <p:cNvPr id="62" name="Grupo 61"/>
              <p:cNvGrpSpPr/>
              <p:nvPr/>
            </p:nvGrpSpPr>
            <p:grpSpPr>
              <a:xfrm>
                <a:off x="7611789" y="5222627"/>
                <a:ext cx="3190347" cy="1276139"/>
                <a:chOff x="5106192" y="3829508"/>
                <a:chExt cx="3190347" cy="1276139"/>
              </a:xfrm>
            </p:grpSpPr>
            <p:sp>
              <p:nvSpPr>
                <p:cNvPr id="69" name="Divisa 68"/>
                <p:cNvSpPr/>
                <p:nvPr/>
              </p:nvSpPr>
              <p:spPr>
                <a:xfrm>
                  <a:off x="5106192" y="3829508"/>
                  <a:ext cx="3190347" cy="1276139"/>
                </a:xfrm>
                <a:prstGeom prst="chevron">
                  <a:avLst/>
                </a:prstGeom>
                <a:solidFill>
                  <a:schemeClr val="accent1"/>
                </a:solidFill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</p:sp>
            <p:sp>
              <p:nvSpPr>
                <p:cNvPr id="70" name="Divisa 8"/>
                <p:cNvSpPr/>
                <p:nvPr/>
              </p:nvSpPr>
              <p:spPr>
                <a:xfrm>
                  <a:off x="5744262" y="3829508"/>
                  <a:ext cx="1914208" cy="1276139"/>
                </a:xfrm>
                <a:prstGeom prst="rect">
                  <a:avLst/>
                </a:prstGeom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spcFirstLastPara="0" vert="horz" wrap="square" lIns="80010" tIns="53340" rIns="26670" bIns="53340" numCol="1" spcCol="1270" anchor="ctr" anchorCtr="0">
                  <a:noAutofit/>
                </a:bodyPr>
                <a:lstStyle/>
                <a:p>
                  <a:pPr lvl="0" algn="ctr" defTabSz="8890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pt-BR" sz="2400" kern="1200" dirty="0"/>
                    <a:t>3. Importação de novos módulos</a:t>
                  </a:r>
                </a:p>
              </p:txBody>
            </p:sp>
          </p:grpSp>
          <p:grpSp>
            <p:nvGrpSpPr>
              <p:cNvPr id="63" name="Grupo 62"/>
              <p:cNvGrpSpPr/>
              <p:nvPr/>
            </p:nvGrpSpPr>
            <p:grpSpPr>
              <a:xfrm>
                <a:off x="10164067" y="5222627"/>
                <a:ext cx="3190347" cy="1276139"/>
                <a:chOff x="7658470" y="3829508"/>
                <a:chExt cx="3190347" cy="1276139"/>
              </a:xfrm>
            </p:grpSpPr>
            <p:sp>
              <p:nvSpPr>
                <p:cNvPr id="67" name="Divisa 66"/>
                <p:cNvSpPr/>
                <p:nvPr/>
              </p:nvSpPr>
              <p:spPr>
                <a:xfrm>
                  <a:off x="7658470" y="3829508"/>
                  <a:ext cx="3190347" cy="1276139"/>
                </a:xfrm>
                <a:prstGeom prst="chevron">
                  <a:avLst/>
                </a:prstGeom>
                <a:solidFill>
                  <a:schemeClr val="accent1"/>
                </a:solidFill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</p:sp>
            <p:sp>
              <p:nvSpPr>
                <p:cNvPr id="68" name="Divisa 10"/>
                <p:cNvSpPr/>
                <p:nvPr/>
              </p:nvSpPr>
              <p:spPr>
                <a:xfrm>
                  <a:off x="8296540" y="3829508"/>
                  <a:ext cx="1914208" cy="1276139"/>
                </a:xfrm>
                <a:prstGeom prst="rect">
                  <a:avLst/>
                </a:prstGeom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spcFirstLastPara="0" vert="horz" wrap="square" lIns="80010" tIns="53340" rIns="26670" bIns="53340" numCol="1" spcCol="1270" anchor="ctr" anchorCtr="0">
                  <a:noAutofit/>
                </a:bodyPr>
                <a:lstStyle/>
                <a:p>
                  <a:pPr lvl="0" algn="ctr" defTabSz="8890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pt-BR" sz="2400" kern="1200" dirty="0"/>
                    <a:t>4. Importação da barra de ferramentas GSTI</a:t>
                  </a:r>
                </a:p>
              </p:txBody>
            </p:sp>
          </p:grpSp>
          <p:grpSp>
            <p:nvGrpSpPr>
              <p:cNvPr id="64" name="Grupo 63"/>
              <p:cNvGrpSpPr/>
              <p:nvPr/>
            </p:nvGrpSpPr>
            <p:grpSpPr>
              <a:xfrm>
                <a:off x="12716346" y="5222627"/>
                <a:ext cx="3190347" cy="1276139"/>
                <a:chOff x="10210749" y="3829508"/>
                <a:chExt cx="3190347" cy="1276139"/>
              </a:xfrm>
            </p:grpSpPr>
            <p:sp>
              <p:nvSpPr>
                <p:cNvPr id="65" name="Divisa 64"/>
                <p:cNvSpPr/>
                <p:nvPr/>
              </p:nvSpPr>
              <p:spPr>
                <a:xfrm>
                  <a:off x="10210749" y="3829508"/>
                  <a:ext cx="3190347" cy="1276139"/>
                </a:xfrm>
                <a:prstGeom prst="chevron">
                  <a:avLst/>
                </a:prstGeom>
                <a:solidFill>
                  <a:schemeClr val="accent1"/>
                </a:solidFill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</p:sp>
            <p:sp>
              <p:nvSpPr>
                <p:cNvPr id="66" name="Divisa 12"/>
                <p:cNvSpPr/>
                <p:nvPr/>
              </p:nvSpPr>
              <p:spPr>
                <a:xfrm>
                  <a:off x="11037625" y="3829508"/>
                  <a:ext cx="1914208" cy="1276139"/>
                </a:xfrm>
                <a:prstGeom prst="rect">
                  <a:avLst/>
                </a:prstGeom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spcFirstLastPara="0" vert="horz" wrap="square" lIns="80010" tIns="53340" rIns="26670" bIns="53340" numCol="1" spcCol="1270" anchor="ctr" anchorCtr="0">
                  <a:noAutofit/>
                </a:bodyPr>
                <a:lstStyle/>
                <a:p>
                  <a:pPr lvl="0" algn="ctr" defTabSz="8890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pt-BR" sz="2400" kern="1200" dirty="0"/>
                    <a:t>5. Marcar a </a:t>
                  </a:r>
                  <a:r>
                    <a:rPr lang="pt-BR" sz="2400" kern="1200" dirty="0" err="1"/>
                    <a:t>dll</a:t>
                  </a:r>
                  <a:r>
                    <a:rPr lang="pt-BR" sz="2400" kern="1200" dirty="0"/>
                    <a:t> do </a:t>
                  </a:r>
                  <a:r>
                    <a:rPr lang="pt-BR" sz="2400" kern="1200" dirty="0" err="1"/>
                    <a:t>excel</a:t>
                  </a:r>
                  <a:r>
                    <a:rPr lang="pt-BR" sz="2400" kern="1200" dirty="0"/>
                    <a:t>  dentro do Project</a:t>
                  </a:r>
                </a:p>
              </p:txBody>
            </p:sp>
          </p:grpSp>
        </p:grpSp>
        <p:sp>
          <p:nvSpPr>
            <p:cNvPr id="75" name="Retângulo 74"/>
            <p:cNvSpPr/>
            <p:nvPr/>
          </p:nvSpPr>
          <p:spPr>
            <a:xfrm>
              <a:off x="4767376" y="6510685"/>
              <a:ext cx="10940396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pt-BR" sz="2800" dirty="0">
                  <a:solidFill>
                    <a:srgbClr val="FF0000"/>
                  </a:solidFill>
                </a:rPr>
                <a:t>Nota: Caso esta seja a primeira instalação, vá direto ao passo nº 3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5393132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" name="Objeto 50" hidden="1">
            <a:extLst>
              <a:ext uri="{FF2B5EF4-FFF2-40B4-BE49-F238E27FC236}">
                <a16:creationId xmlns:a16="http://schemas.microsoft.com/office/drawing/2014/main" id="{7E65BC4C-0858-4F13-A045-BAC5EB65DAD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5" imgW="317" imgH="318" progId="TCLayout.ActiveDocument.1">
                  <p:embed/>
                </p:oleObj>
              </mc:Choice>
              <mc:Fallback>
                <p:oleObj name="Slide do think-cell" r:id="rId5" imgW="317" imgH="318" progId="TCLayout.ActiveDocument.1">
                  <p:embed/>
                  <p:pic>
                    <p:nvPicPr>
                      <p:cNvPr id="51" name="Objeto 50" hidden="1">
                        <a:extLst>
                          <a:ext uri="{FF2B5EF4-FFF2-40B4-BE49-F238E27FC236}">
                            <a16:creationId xmlns:a16="http://schemas.microsoft.com/office/drawing/2014/main" id="{7E65BC4C-0858-4F13-A045-BAC5EB65DA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Retângulo 49" hidden="1">
            <a:extLst>
              <a:ext uri="{FF2B5EF4-FFF2-40B4-BE49-F238E27FC236}">
                <a16:creationId xmlns:a16="http://schemas.microsoft.com/office/drawing/2014/main" id="{B6FD34B5-13C2-49BE-8AF2-FCDC4689AF2B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000">
              <a:latin typeface="Calibri" panose="020F0502020204030204" pitchFamily="34" charset="0"/>
              <a:sym typeface="+mn-lt"/>
            </a:endParaRPr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9CB7E9B1-69E0-4E6D-BF67-AE78100CC5D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9485098" y="10669637"/>
            <a:ext cx="720080" cy="601662"/>
          </a:xfrm>
        </p:spPr>
        <p:txBody>
          <a:bodyPr/>
          <a:lstStyle/>
          <a:p>
            <a:fld id="{BE418F81-F092-F643-8EAE-268022441A30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9" name="Título 1"/>
          <p:cNvSpPr>
            <a:spLocks noGrp="1"/>
          </p:cNvSpPr>
          <p:nvPr>
            <p:ph type="title"/>
          </p:nvPr>
        </p:nvSpPr>
        <p:spPr>
          <a:xfrm>
            <a:off x="546994" y="758131"/>
            <a:ext cx="17058188" cy="840230"/>
          </a:xfrm>
        </p:spPr>
        <p:txBody>
          <a:bodyPr/>
          <a:lstStyle/>
          <a:p>
            <a:r>
              <a:rPr lang="en-US" sz="5400" dirty="0" err="1">
                <a:solidFill>
                  <a:schemeClr val="accent5">
                    <a:lumMod val="50000"/>
                  </a:schemeClr>
                </a:solidFill>
              </a:rPr>
              <a:t>Instalação</a:t>
            </a:r>
            <a:r>
              <a:rPr lang="en-US" sz="5400" dirty="0">
                <a:solidFill>
                  <a:schemeClr val="accent5">
                    <a:lumMod val="50000"/>
                  </a:schemeClr>
                </a:solidFill>
              </a:rPr>
              <a:t> da Barra de </a:t>
            </a:r>
            <a:r>
              <a:rPr lang="en-US" sz="5400" dirty="0" err="1">
                <a:solidFill>
                  <a:schemeClr val="accent5">
                    <a:lumMod val="50000"/>
                  </a:schemeClr>
                </a:solidFill>
              </a:rPr>
              <a:t>Ferramentas</a:t>
            </a:r>
            <a:r>
              <a:rPr lang="en-US" sz="5400" dirty="0">
                <a:solidFill>
                  <a:schemeClr val="accent5">
                    <a:lumMod val="50000"/>
                  </a:schemeClr>
                </a:solidFill>
              </a:rPr>
              <a:t> do GSTI </a:t>
            </a:r>
          </a:p>
        </p:txBody>
      </p:sp>
      <p:grpSp>
        <p:nvGrpSpPr>
          <p:cNvPr id="12" name="Grupo 11"/>
          <p:cNvGrpSpPr/>
          <p:nvPr/>
        </p:nvGrpSpPr>
        <p:grpSpPr>
          <a:xfrm>
            <a:off x="2635225" y="2054275"/>
            <a:ext cx="13321480" cy="1728192"/>
            <a:chOff x="2507233" y="5222627"/>
            <a:chExt cx="13399460" cy="1276139"/>
          </a:xfrm>
        </p:grpSpPr>
        <p:grpSp>
          <p:nvGrpSpPr>
            <p:cNvPr id="60" name="Grupo 59"/>
            <p:cNvGrpSpPr/>
            <p:nvPr/>
          </p:nvGrpSpPr>
          <p:grpSpPr>
            <a:xfrm>
              <a:off x="2507233" y="5222627"/>
              <a:ext cx="3190347" cy="1276139"/>
              <a:chOff x="1636" y="3829508"/>
              <a:chExt cx="3190347" cy="1276139"/>
            </a:xfrm>
          </p:grpSpPr>
          <p:sp>
            <p:nvSpPr>
              <p:cNvPr id="73" name="Pentágono 72"/>
              <p:cNvSpPr/>
              <p:nvPr/>
            </p:nvSpPr>
            <p:spPr>
              <a:xfrm>
                <a:off x="1636" y="3829508"/>
                <a:ext cx="3190347" cy="1276139"/>
              </a:xfrm>
              <a:prstGeom prst="homePlate">
                <a:avLst/>
              </a:pr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74" name="Pentágono 4"/>
              <p:cNvSpPr/>
              <p:nvPr/>
            </p:nvSpPr>
            <p:spPr>
              <a:xfrm>
                <a:off x="1636" y="3829508"/>
                <a:ext cx="2871312" cy="1276139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106680" tIns="53340" rIns="26670" bIns="53340" numCol="1" spcCol="1270" anchor="ctr" anchorCtr="0">
                <a:no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pt-BR" sz="2400" kern="1200" dirty="0"/>
                  <a:t>1. Exclusão de todas as personalizações</a:t>
                </a:r>
              </a:p>
            </p:txBody>
          </p:sp>
        </p:grpSp>
        <p:grpSp>
          <p:nvGrpSpPr>
            <p:cNvPr id="61" name="Grupo 60"/>
            <p:cNvGrpSpPr/>
            <p:nvPr/>
          </p:nvGrpSpPr>
          <p:grpSpPr>
            <a:xfrm>
              <a:off x="5059511" y="5222627"/>
              <a:ext cx="3190347" cy="1276139"/>
              <a:chOff x="2553914" y="3829508"/>
              <a:chExt cx="3190347" cy="1276139"/>
            </a:xfrm>
          </p:grpSpPr>
          <p:sp>
            <p:nvSpPr>
              <p:cNvPr id="71" name="Divisa 70"/>
              <p:cNvSpPr/>
              <p:nvPr/>
            </p:nvSpPr>
            <p:spPr>
              <a:xfrm>
                <a:off x="2553914" y="3829508"/>
                <a:ext cx="3190347" cy="1276139"/>
              </a:xfrm>
              <a:prstGeom prst="chevron">
                <a:avLst/>
              </a:prstGeom>
              <a:solidFill>
                <a:schemeClr val="bg1">
                  <a:lumMod val="65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72" name="Divisa 6"/>
              <p:cNvSpPr/>
              <p:nvPr/>
            </p:nvSpPr>
            <p:spPr>
              <a:xfrm>
                <a:off x="3191984" y="3829508"/>
                <a:ext cx="1914208" cy="1276139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80010" tIns="53340" rIns="26670" bIns="53340" numCol="1" spcCol="1270" anchor="ctr" anchorCtr="0">
                <a:no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pt-BR" kern="1200" dirty="0"/>
                  <a:t>2. Exclusão dos módulos e formulários existentes (VB)</a:t>
                </a:r>
              </a:p>
            </p:txBody>
          </p:sp>
        </p:grpSp>
        <p:grpSp>
          <p:nvGrpSpPr>
            <p:cNvPr id="62" name="Grupo 61"/>
            <p:cNvGrpSpPr/>
            <p:nvPr/>
          </p:nvGrpSpPr>
          <p:grpSpPr>
            <a:xfrm>
              <a:off x="7611789" y="5222627"/>
              <a:ext cx="3190347" cy="1276139"/>
              <a:chOff x="5106192" y="3829508"/>
              <a:chExt cx="3190347" cy="1276139"/>
            </a:xfrm>
          </p:grpSpPr>
          <p:sp>
            <p:nvSpPr>
              <p:cNvPr id="69" name="Divisa 68"/>
              <p:cNvSpPr/>
              <p:nvPr/>
            </p:nvSpPr>
            <p:spPr>
              <a:xfrm>
                <a:off x="5106192" y="3829508"/>
                <a:ext cx="3190347" cy="1276139"/>
              </a:xfrm>
              <a:prstGeom prst="chevron">
                <a:avLst/>
              </a:prstGeom>
              <a:solidFill>
                <a:schemeClr val="bg1">
                  <a:lumMod val="65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70" name="Divisa 8"/>
              <p:cNvSpPr/>
              <p:nvPr/>
            </p:nvSpPr>
            <p:spPr>
              <a:xfrm>
                <a:off x="5744262" y="3829508"/>
                <a:ext cx="1914208" cy="1276139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80010" tIns="53340" rIns="26670" bIns="53340" numCol="1" spcCol="1270" anchor="ctr" anchorCtr="0">
                <a:no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pt-BR" kern="1200" dirty="0"/>
                  <a:t>3. Importação de novos módulos</a:t>
                </a:r>
              </a:p>
            </p:txBody>
          </p:sp>
        </p:grpSp>
        <p:grpSp>
          <p:nvGrpSpPr>
            <p:cNvPr id="63" name="Grupo 62"/>
            <p:cNvGrpSpPr/>
            <p:nvPr/>
          </p:nvGrpSpPr>
          <p:grpSpPr>
            <a:xfrm>
              <a:off x="10164067" y="5222627"/>
              <a:ext cx="3190347" cy="1276139"/>
              <a:chOff x="7658470" y="3829508"/>
              <a:chExt cx="3190347" cy="1276139"/>
            </a:xfrm>
          </p:grpSpPr>
          <p:sp>
            <p:nvSpPr>
              <p:cNvPr id="67" name="Divisa 66"/>
              <p:cNvSpPr/>
              <p:nvPr/>
            </p:nvSpPr>
            <p:spPr>
              <a:xfrm>
                <a:off x="7658470" y="3829508"/>
                <a:ext cx="3190347" cy="1276139"/>
              </a:xfrm>
              <a:prstGeom prst="chevron">
                <a:avLst/>
              </a:prstGeom>
              <a:solidFill>
                <a:schemeClr val="bg1">
                  <a:lumMod val="65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68" name="Divisa 10"/>
              <p:cNvSpPr/>
              <p:nvPr/>
            </p:nvSpPr>
            <p:spPr>
              <a:xfrm>
                <a:off x="8296540" y="3829508"/>
                <a:ext cx="1914208" cy="1276139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80010" tIns="53340" rIns="26670" bIns="53340" numCol="1" spcCol="1270" anchor="ctr" anchorCtr="0">
                <a:no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pt-BR" kern="1200" dirty="0"/>
                  <a:t>4. Importação da barra de ferramentas GSTI</a:t>
                </a:r>
              </a:p>
            </p:txBody>
          </p:sp>
        </p:grpSp>
        <p:grpSp>
          <p:nvGrpSpPr>
            <p:cNvPr id="64" name="Grupo 63"/>
            <p:cNvGrpSpPr/>
            <p:nvPr/>
          </p:nvGrpSpPr>
          <p:grpSpPr>
            <a:xfrm>
              <a:off x="12716346" y="5222627"/>
              <a:ext cx="3190347" cy="1276139"/>
              <a:chOff x="10210749" y="3829508"/>
              <a:chExt cx="3190347" cy="1276139"/>
            </a:xfrm>
          </p:grpSpPr>
          <p:sp>
            <p:nvSpPr>
              <p:cNvPr id="65" name="Divisa 64"/>
              <p:cNvSpPr/>
              <p:nvPr/>
            </p:nvSpPr>
            <p:spPr>
              <a:xfrm>
                <a:off x="10210749" y="3829508"/>
                <a:ext cx="3190347" cy="1276139"/>
              </a:xfrm>
              <a:prstGeom prst="chevron">
                <a:avLst/>
              </a:prstGeom>
              <a:solidFill>
                <a:schemeClr val="bg1">
                  <a:lumMod val="65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66" name="Divisa 12"/>
              <p:cNvSpPr/>
              <p:nvPr/>
            </p:nvSpPr>
            <p:spPr>
              <a:xfrm>
                <a:off x="11037625" y="3829508"/>
                <a:ext cx="1914208" cy="1276139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80010" tIns="53340" rIns="26670" bIns="53340" numCol="1" spcCol="1270" anchor="ctr" anchorCtr="0">
                <a:no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pt-BR" kern="1200" dirty="0"/>
                  <a:t>5. Marcar a </a:t>
                </a:r>
                <a:r>
                  <a:rPr lang="pt-BR" kern="1200" dirty="0" err="1"/>
                  <a:t>dll</a:t>
                </a:r>
                <a:r>
                  <a:rPr lang="pt-BR" kern="1200" dirty="0"/>
                  <a:t> do </a:t>
                </a:r>
                <a:r>
                  <a:rPr lang="pt-BR" kern="1200" dirty="0" err="1"/>
                  <a:t>excel</a:t>
                </a:r>
                <a:r>
                  <a:rPr lang="pt-BR" kern="1200" dirty="0"/>
                  <a:t>  dentro do Project</a:t>
                </a:r>
              </a:p>
            </p:txBody>
          </p:sp>
        </p:grpSp>
      </p:grpSp>
      <p:sp>
        <p:nvSpPr>
          <p:cNvPr id="38" name="Retângulo 37"/>
          <p:cNvSpPr/>
          <p:nvPr/>
        </p:nvSpPr>
        <p:spPr>
          <a:xfrm>
            <a:off x="14052537" y="7598891"/>
            <a:ext cx="4885167" cy="360040"/>
          </a:xfrm>
          <a:prstGeom prst="rect">
            <a:avLst/>
          </a:prstGeom>
          <a:noFill/>
          <a:ln w="38100">
            <a:solidFill>
              <a:srgbClr val="FF0000"/>
            </a:solidFill>
            <a:prstDash val="sys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grpSp>
        <p:nvGrpSpPr>
          <p:cNvPr id="3" name="Agrupar 2">
            <a:extLst>
              <a:ext uri="{FF2B5EF4-FFF2-40B4-BE49-F238E27FC236}">
                <a16:creationId xmlns:a16="http://schemas.microsoft.com/office/drawing/2014/main" id="{EA66563F-0260-4434-BED1-D580E268AC9A}"/>
              </a:ext>
            </a:extLst>
          </p:cNvPr>
          <p:cNvGrpSpPr/>
          <p:nvPr/>
        </p:nvGrpSpPr>
        <p:grpSpPr>
          <a:xfrm>
            <a:off x="6963876" y="4215234"/>
            <a:ext cx="12521221" cy="6119961"/>
            <a:chOff x="6963876" y="4215234"/>
            <a:chExt cx="12521221" cy="6119961"/>
          </a:xfrm>
        </p:grpSpPr>
        <p:pic>
          <p:nvPicPr>
            <p:cNvPr id="36867" name="Picture 3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63876" y="4215234"/>
              <a:ext cx="12521221" cy="6119961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  <p:cxnSp>
          <p:nvCxnSpPr>
            <p:cNvPr id="35" name="Conector de seta reta 34"/>
            <p:cNvCxnSpPr/>
            <p:nvPr/>
          </p:nvCxnSpPr>
          <p:spPr>
            <a:xfrm flipH="1">
              <a:off x="14012490" y="5450552"/>
              <a:ext cx="991253" cy="684522"/>
            </a:xfrm>
            <a:prstGeom prst="straightConnector1">
              <a:avLst/>
            </a:prstGeom>
            <a:ln w="57150">
              <a:solidFill>
                <a:srgbClr val="FF0000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Retângulo 35"/>
            <p:cNvSpPr/>
            <p:nvPr/>
          </p:nvSpPr>
          <p:spPr>
            <a:xfrm>
              <a:off x="14801908" y="5078611"/>
              <a:ext cx="515580" cy="743882"/>
            </a:xfrm>
            <a:prstGeom prst="rect">
              <a:avLst/>
            </a:prstGeom>
            <a:solidFill>
              <a:srgbClr val="FF0000"/>
            </a:soli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4000" dirty="0"/>
                <a:t>1</a:t>
              </a:r>
            </a:p>
          </p:txBody>
        </p:sp>
        <p:cxnSp>
          <p:nvCxnSpPr>
            <p:cNvPr id="40" name="Conector de seta reta 39"/>
            <p:cNvCxnSpPr/>
            <p:nvPr/>
          </p:nvCxnSpPr>
          <p:spPr>
            <a:xfrm>
              <a:off x="12871886" y="7500020"/>
              <a:ext cx="1139244" cy="278891"/>
            </a:xfrm>
            <a:prstGeom prst="straightConnector1">
              <a:avLst/>
            </a:prstGeom>
            <a:ln w="57150">
              <a:solidFill>
                <a:srgbClr val="FF0000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Retângulo 40"/>
            <p:cNvSpPr/>
            <p:nvPr/>
          </p:nvSpPr>
          <p:spPr>
            <a:xfrm>
              <a:off x="12356306" y="6855009"/>
              <a:ext cx="515580" cy="743882"/>
            </a:xfrm>
            <a:prstGeom prst="rect">
              <a:avLst/>
            </a:prstGeom>
            <a:solidFill>
              <a:srgbClr val="FF0000"/>
            </a:soli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4000" dirty="0"/>
                <a:t>2</a:t>
              </a:r>
            </a:p>
          </p:txBody>
        </p:sp>
      </p:grpSp>
      <p:grpSp>
        <p:nvGrpSpPr>
          <p:cNvPr id="2" name="Agrupar 1">
            <a:extLst>
              <a:ext uri="{FF2B5EF4-FFF2-40B4-BE49-F238E27FC236}">
                <a16:creationId xmlns:a16="http://schemas.microsoft.com/office/drawing/2014/main" id="{D2862F93-2877-461A-A931-F0704A77E818}"/>
              </a:ext>
            </a:extLst>
          </p:cNvPr>
          <p:cNvGrpSpPr/>
          <p:nvPr/>
        </p:nvGrpSpPr>
        <p:grpSpPr>
          <a:xfrm>
            <a:off x="619002" y="4201368"/>
            <a:ext cx="5736964" cy="6119102"/>
            <a:chOff x="619002" y="4201368"/>
            <a:chExt cx="5736964" cy="6119102"/>
          </a:xfrm>
        </p:grpSpPr>
        <p:sp>
          <p:nvSpPr>
            <p:cNvPr id="47" name="Retângulo de cantos arredondados 46"/>
            <p:cNvSpPr/>
            <p:nvPr/>
          </p:nvSpPr>
          <p:spPr>
            <a:xfrm>
              <a:off x="619002" y="4646563"/>
              <a:ext cx="5472608" cy="5673907"/>
            </a:xfrm>
            <a:prstGeom prst="roundRect">
              <a:avLst/>
            </a:prstGeom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  <p:sp>
          <p:nvSpPr>
            <p:cNvPr id="48" name="CaixaDeTexto 47"/>
            <p:cNvSpPr txBox="1"/>
            <p:nvPr/>
          </p:nvSpPr>
          <p:spPr>
            <a:xfrm>
              <a:off x="943038" y="4823092"/>
              <a:ext cx="5040560" cy="44319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3600" dirty="0">
                  <a:solidFill>
                    <a:srgbClr val="000000"/>
                  </a:solidFill>
                </a:rPr>
                <a:t>0.Abra o MS-Project</a:t>
              </a:r>
            </a:p>
            <a:p>
              <a:pPr marL="342900" indent="-342900">
                <a:buFont typeface="+mj-lt"/>
                <a:buAutoNum type="arabicPeriod"/>
              </a:pPr>
              <a:endParaRPr lang="pt-BR" sz="1500" dirty="0">
                <a:solidFill>
                  <a:srgbClr val="000000"/>
                </a:solidFill>
              </a:endParaRPr>
            </a:p>
            <a:p>
              <a:pPr marL="342900" indent="-342900">
                <a:buFont typeface="+mj-lt"/>
                <a:buAutoNum type="arabicPeriod"/>
              </a:pPr>
              <a:r>
                <a:rPr lang="pt-BR" sz="3600" dirty="0">
                  <a:solidFill>
                    <a:srgbClr val="000000"/>
                  </a:solidFill>
                </a:rPr>
                <a:t>Clique com o botão direito na barra de tarefas</a:t>
              </a:r>
            </a:p>
            <a:p>
              <a:pPr marL="342900" indent="-342900">
                <a:buFont typeface="+mj-lt"/>
                <a:buAutoNum type="arabicPeriod"/>
              </a:pPr>
              <a:endParaRPr lang="pt-BR" sz="1500" dirty="0">
                <a:solidFill>
                  <a:srgbClr val="000000"/>
                </a:solidFill>
              </a:endParaRPr>
            </a:p>
            <a:p>
              <a:pPr marL="342900" indent="-342900">
                <a:buFont typeface="+mj-lt"/>
                <a:buAutoNum type="arabicPeriod"/>
              </a:pPr>
              <a:r>
                <a:rPr lang="pt-BR" sz="3600" dirty="0">
                  <a:solidFill>
                    <a:srgbClr val="000000"/>
                  </a:solidFill>
                </a:rPr>
                <a:t>Selecionar “Personalizar Faixa de Opções”.”</a:t>
              </a:r>
            </a:p>
            <a:p>
              <a:endParaRPr lang="pt-BR" sz="3600" dirty="0">
                <a:solidFill>
                  <a:srgbClr val="000000"/>
                </a:solidFill>
              </a:endParaRPr>
            </a:p>
          </p:txBody>
        </p:sp>
        <p:sp>
          <p:nvSpPr>
            <p:cNvPr id="49" name="Título 1"/>
            <p:cNvSpPr txBox="1">
              <a:spLocks/>
            </p:cNvSpPr>
            <p:nvPr/>
          </p:nvSpPr>
          <p:spPr>
            <a:xfrm>
              <a:off x="619002" y="4201368"/>
              <a:ext cx="5736964" cy="480131"/>
            </a:xfrm>
            <a:prstGeom prst="rect">
              <a:avLst/>
            </a:prstGeom>
          </p:spPr>
          <p:txBody>
            <a:bodyPr vert="horz" wrap="square" lIns="91440" tIns="45720" rIns="91440" bIns="45720" rtlCol="0" anchor="ctr">
              <a:spAutoFit/>
            </a:bodyPr>
            <a:lstStyle>
              <a:lvl1pPr algn="l" defTabSz="914478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5936" kern="1200" baseline="0">
                  <a:solidFill>
                    <a:srgbClr val="006067"/>
                  </a:solidFill>
                  <a:latin typeface="Agenda Medium" charset="0"/>
                  <a:ea typeface="Agenda Medium" charset="0"/>
                  <a:cs typeface="Agenda Medium" charset="0"/>
                </a:defRPr>
              </a:lvl1pPr>
            </a:lstStyle>
            <a:p>
              <a:r>
                <a:rPr lang="en-US" sz="2800" dirty="0">
                  <a:solidFill>
                    <a:schemeClr val="accent5">
                      <a:lumMod val="50000"/>
                    </a:schemeClr>
                  </a:solidFill>
                  <a:latin typeface="+mn-lt"/>
                </a:rPr>
                <a:t>1.1)</a:t>
              </a:r>
              <a:r>
                <a:rPr lang="en-US" sz="2800" dirty="0" err="1">
                  <a:solidFill>
                    <a:schemeClr val="accent5">
                      <a:lumMod val="50000"/>
                    </a:schemeClr>
                  </a:solidFill>
                  <a:latin typeface="+mn-lt"/>
                </a:rPr>
                <a:t>Redefinir</a:t>
              </a:r>
              <a:r>
                <a:rPr lang="en-US" sz="2800" dirty="0">
                  <a:solidFill>
                    <a:schemeClr val="accent5">
                      <a:lumMod val="50000"/>
                    </a:schemeClr>
                  </a:solidFill>
                  <a:latin typeface="+mn-lt"/>
                </a:rPr>
                <a:t> </a:t>
              </a:r>
              <a:r>
                <a:rPr lang="en-US" sz="2800" dirty="0" err="1">
                  <a:solidFill>
                    <a:schemeClr val="accent5">
                      <a:lumMod val="50000"/>
                    </a:schemeClr>
                  </a:solidFill>
                  <a:latin typeface="+mn-lt"/>
                </a:rPr>
                <a:t>todas</a:t>
              </a:r>
              <a:r>
                <a:rPr lang="en-US" sz="2800" dirty="0">
                  <a:solidFill>
                    <a:schemeClr val="accent5">
                      <a:lumMod val="50000"/>
                    </a:schemeClr>
                  </a:solidFill>
                  <a:latin typeface="+mn-lt"/>
                </a:rPr>
                <a:t> as </a:t>
              </a:r>
              <a:r>
                <a:rPr lang="en-US" sz="2800" dirty="0" err="1">
                  <a:solidFill>
                    <a:schemeClr val="accent5">
                      <a:lumMod val="50000"/>
                    </a:schemeClr>
                  </a:solidFill>
                  <a:latin typeface="+mn-lt"/>
                </a:rPr>
                <a:t>personalizações</a:t>
              </a:r>
              <a:endParaRPr lang="en-US" sz="2800" dirty="0">
                <a:solidFill>
                  <a:schemeClr val="accent5">
                    <a:lumMod val="50000"/>
                  </a:schemeClr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6948926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Picture 2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85" t="2865" r="146" b="9375"/>
          <a:stretch/>
        </p:blipFill>
        <p:spPr bwMode="auto">
          <a:xfrm>
            <a:off x="6758541" y="4121889"/>
            <a:ext cx="12998449" cy="657334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graphicFrame>
        <p:nvGraphicFramePr>
          <p:cNvPr id="51" name="Objeto 50" hidden="1">
            <a:extLst>
              <a:ext uri="{FF2B5EF4-FFF2-40B4-BE49-F238E27FC236}">
                <a16:creationId xmlns:a16="http://schemas.microsoft.com/office/drawing/2014/main" id="{7E65BC4C-0858-4F13-A045-BAC5EB65DAD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6" imgW="317" imgH="318" progId="TCLayout.ActiveDocument.1">
                  <p:embed/>
                </p:oleObj>
              </mc:Choice>
              <mc:Fallback>
                <p:oleObj name="Slide do think-cell" r:id="rId6" imgW="317" imgH="318" progId="TCLayout.ActiveDocument.1">
                  <p:embed/>
                  <p:pic>
                    <p:nvPicPr>
                      <p:cNvPr id="51" name="Objeto 50" hidden="1">
                        <a:extLst>
                          <a:ext uri="{FF2B5EF4-FFF2-40B4-BE49-F238E27FC236}">
                            <a16:creationId xmlns:a16="http://schemas.microsoft.com/office/drawing/2014/main" id="{7E65BC4C-0858-4F13-A045-BAC5EB65DA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Retângulo 49" hidden="1">
            <a:extLst>
              <a:ext uri="{FF2B5EF4-FFF2-40B4-BE49-F238E27FC236}">
                <a16:creationId xmlns:a16="http://schemas.microsoft.com/office/drawing/2014/main" id="{B6FD34B5-13C2-49BE-8AF2-FCDC4689AF2B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000">
              <a:latin typeface="Calibri" panose="020F0502020204030204" pitchFamily="34" charset="0"/>
              <a:sym typeface="+mn-lt"/>
            </a:endParaRPr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9CB7E9B1-69E0-4E6D-BF67-AE78100CC5D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9485098" y="10669637"/>
            <a:ext cx="720080" cy="601662"/>
          </a:xfrm>
        </p:spPr>
        <p:txBody>
          <a:bodyPr/>
          <a:lstStyle/>
          <a:p>
            <a:fld id="{BE418F81-F092-F643-8EAE-268022441A30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9" name="Título 1"/>
          <p:cNvSpPr>
            <a:spLocks noGrp="1"/>
          </p:cNvSpPr>
          <p:nvPr>
            <p:ph type="title"/>
          </p:nvPr>
        </p:nvSpPr>
        <p:spPr>
          <a:xfrm>
            <a:off x="546994" y="758131"/>
            <a:ext cx="17058188" cy="840230"/>
          </a:xfrm>
        </p:spPr>
        <p:txBody>
          <a:bodyPr/>
          <a:lstStyle/>
          <a:p>
            <a:r>
              <a:rPr lang="en-US" sz="5400" dirty="0" err="1">
                <a:solidFill>
                  <a:schemeClr val="accent5">
                    <a:lumMod val="50000"/>
                  </a:schemeClr>
                </a:solidFill>
              </a:rPr>
              <a:t>Instalação</a:t>
            </a:r>
            <a:r>
              <a:rPr lang="en-US" sz="5400" dirty="0">
                <a:solidFill>
                  <a:schemeClr val="accent5">
                    <a:lumMod val="50000"/>
                  </a:schemeClr>
                </a:solidFill>
              </a:rPr>
              <a:t> da Barra de </a:t>
            </a:r>
            <a:r>
              <a:rPr lang="en-US" sz="5400" dirty="0" err="1">
                <a:solidFill>
                  <a:schemeClr val="accent5">
                    <a:lumMod val="50000"/>
                  </a:schemeClr>
                </a:solidFill>
              </a:rPr>
              <a:t>Ferramentas</a:t>
            </a:r>
            <a:r>
              <a:rPr lang="en-US" sz="5400" dirty="0">
                <a:solidFill>
                  <a:schemeClr val="accent5">
                    <a:lumMod val="50000"/>
                  </a:schemeClr>
                </a:solidFill>
              </a:rPr>
              <a:t> do GSTI </a:t>
            </a:r>
          </a:p>
        </p:txBody>
      </p:sp>
      <p:grpSp>
        <p:nvGrpSpPr>
          <p:cNvPr id="12" name="Grupo 11"/>
          <p:cNvGrpSpPr/>
          <p:nvPr/>
        </p:nvGrpSpPr>
        <p:grpSpPr>
          <a:xfrm>
            <a:off x="2635225" y="2054275"/>
            <a:ext cx="13321480" cy="1728192"/>
            <a:chOff x="2507233" y="5222627"/>
            <a:chExt cx="13399460" cy="1276139"/>
          </a:xfrm>
        </p:grpSpPr>
        <p:grpSp>
          <p:nvGrpSpPr>
            <p:cNvPr id="60" name="Grupo 59"/>
            <p:cNvGrpSpPr/>
            <p:nvPr/>
          </p:nvGrpSpPr>
          <p:grpSpPr>
            <a:xfrm>
              <a:off x="2507233" y="5222627"/>
              <a:ext cx="3190347" cy="1276139"/>
              <a:chOff x="1636" y="3829508"/>
              <a:chExt cx="3190347" cy="1276139"/>
            </a:xfrm>
          </p:grpSpPr>
          <p:sp>
            <p:nvSpPr>
              <p:cNvPr id="73" name="Pentágono 72"/>
              <p:cNvSpPr/>
              <p:nvPr/>
            </p:nvSpPr>
            <p:spPr>
              <a:xfrm>
                <a:off x="1636" y="3829508"/>
                <a:ext cx="3190347" cy="1276139"/>
              </a:xfrm>
              <a:prstGeom prst="homePlate">
                <a:avLst/>
              </a:pr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74" name="Pentágono 4"/>
              <p:cNvSpPr/>
              <p:nvPr/>
            </p:nvSpPr>
            <p:spPr>
              <a:xfrm>
                <a:off x="1636" y="3829508"/>
                <a:ext cx="2871312" cy="1276139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106680" tIns="53340" rIns="26670" bIns="53340" numCol="1" spcCol="1270" anchor="ctr" anchorCtr="0">
                <a:no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pt-BR" sz="2400" kern="1200" dirty="0"/>
                  <a:t>1. Exclusão de todas as personalizações</a:t>
                </a:r>
              </a:p>
            </p:txBody>
          </p:sp>
        </p:grpSp>
        <p:grpSp>
          <p:nvGrpSpPr>
            <p:cNvPr id="61" name="Grupo 60"/>
            <p:cNvGrpSpPr/>
            <p:nvPr/>
          </p:nvGrpSpPr>
          <p:grpSpPr>
            <a:xfrm>
              <a:off x="5059511" y="5222627"/>
              <a:ext cx="3190347" cy="1276139"/>
              <a:chOff x="2553914" y="3829508"/>
              <a:chExt cx="3190347" cy="1276139"/>
            </a:xfrm>
          </p:grpSpPr>
          <p:sp>
            <p:nvSpPr>
              <p:cNvPr id="71" name="Divisa 70"/>
              <p:cNvSpPr/>
              <p:nvPr/>
            </p:nvSpPr>
            <p:spPr>
              <a:xfrm>
                <a:off x="2553914" y="3829508"/>
                <a:ext cx="3190347" cy="1276139"/>
              </a:xfrm>
              <a:prstGeom prst="chevron">
                <a:avLst/>
              </a:prstGeom>
              <a:solidFill>
                <a:schemeClr val="bg1">
                  <a:lumMod val="65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72" name="Divisa 6"/>
              <p:cNvSpPr/>
              <p:nvPr/>
            </p:nvSpPr>
            <p:spPr>
              <a:xfrm>
                <a:off x="3191984" y="3829508"/>
                <a:ext cx="1914208" cy="1276139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80010" tIns="53340" rIns="26670" bIns="53340" numCol="1" spcCol="1270" anchor="ctr" anchorCtr="0">
                <a:no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pt-BR" kern="1200" dirty="0"/>
                  <a:t>2. Exclusão dos módulos e formulários existentes (VB)</a:t>
                </a:r>
              </a:p>
            </p:txBody>
          </p:sp>
        </p:grpSp>
        <p:grpSp>
          <p:nvGrpSpPr>
            <p:cNvPr id="62" name="Grupo 61"/>
            <p:cNvGrpSpPr/>
            <p:nvPr/>
          </p:nvGrpSpPr>
          <p:grpSpPr>
            <a:xfrm>
              <a:off x="7611789" y="5222627"/>
              <a:ext cx="3190347" cy="1276139"/>
              <a:chOff x="5106192" y="3829508"/>
              <a:chExt cx="3190347" cy="1276139"/>
            </a:xfrm>
          </p:grpSpPr>
          <p:sp>
            <p:nvSpPr>
              <p:cNvPr id="69" name="Divisa 68"/>
              <p:cNvSpPr/>
              <p:nvPr/>
            </p:nvSpPr>
            <p:spPr>
              <a:xfrm>
                <a:off x="5106192" y="3829508"/>
                <a:ext cx="3190347" cy="1276139"/>
              </a:xfrm>
              <a:prstGeom prst="chevron">
                <a:avLst/>
              </a:prstGeom>
              <a:solidFill>
                <a:schemeClr val="bg1">
                  <a:lumMod val="65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70" name="Divisa 8"/>
              <p:cNvSpPr/>
              <p:nvPr/>
            </p:nvSpPr>
            <p:spPr>
              <a:xfrm>
                <a:off x="5744262" y="3829508"/>
                <a:ext cx="1914208" cy="1276139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80010" tIns="53340" rIns="26670" bIns="53340" numCol="1" spcCol="1270" anchor="ctr" anchorCtr="0">
                <a:no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pt-BR" kern="1200" dirty="0"/>
                  <a:t>3. Importação de novos módulos</a:t>
                </a:r>
              </a:p>
            </p:txBody>
          </p:sp>
        </p:grpSp>
        <p:grpSp>
          <p:nvGrpSpPr>
            <p:cNvPr id="63" name="Grupo 62"/>
            <p:cNvGrpSpPr/>
            <p:nvPr/>
          </p:nvGrpSpPr>
          <p:grpSpPr>
            <a:xfrm>
              <a:off x="10164067" y="5222627"/>
              <a:ext cx="3190347" cy="1276139"/>
              <a:chOff x="7658470" y="3829508"/>
              <a:chExt cx="3190347" cy="1276139"/>
            </a:xfrm>
          </p:grpSpPr>
          <p:sp>
            <p:nvSpPr>
              <p:cNvPr id="67" name="Divisa 66"/>
              <p:cNvSpPr/>
              <p:nvPr/>
            </p:nvSpPr>
            <p:spPr>
              <a:xfrm>
                <a:off x="7658470" y="3829508"/>
                <a:ext cx="3190347" cy="1276139"/>
              </a:xfrm>
              <a:prstGeom prst="chevron">
                <a:avLst/>
              </a:prstGeom>
              <a:solidFill>
                <a:schemeClr val="bg1">
                  <a:lumMod val="65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68" name="Divisa 10"/>
              <p:cNvSpPr/>
              <p:nvPr/>
            </p:nvSpPr>
            <p:spPr>
              <a:xfrm>
                <a:off x="8296540" y="3829508"/>
                <a:ext cx="1914208" cy="1276139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80010" tIns="53340" rIns="26670" bIns="53340" numCol="1" spcCol="1270" anchor="ctr" anchorCtr="0">
                <a:no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pt-BR" kern="1200" dirty="0"/>
                  <a:t>4. Importação da barra de ferramentas GSTI</a:t>
                </a:r>
              </a:p>
            </p:txBody>
          </p:sp>
        </p:grpSp>
        <p:grpSp>
          <p:nvGrpSpPr>
            <p:cNvPr id="64" name="Grupo 63"/>
            <p:cNvGrpSpPr/>
            <p:nvPr/>
          </p:nvGrpSpPr>
          <p:grpSpPr>
            <a:xfrm>
              <a:off x="12716346" y="5222627"/>
              <a:ext cx="3190347" cy="1276139"/>
              <a:chOff x="10210749" y="3829508"/>
              <a:chExt cx="3190347" cy="1276139"/>
            </a:xfrm>
          </p:grpSpPr>
          <p:sp>
            <p:nvSpPr>
              <p:cNvPr id="65" name="Divisa 64"/>
              <p:cNvSpPr/>
              <p:nvPr/>
            </p:nvSpPr>
            <p:spPr>
              <a:xfrm>
                <a:off x="10210749" y="3829508"/>
                <a:ext cx="3190347" cy="1276139"/>
              </a:xfrm>
              <a:prstGeom prst="chevron">
                <a:avLst/>
              </a:prstGeom>
              <a:solidFill>
                <a:schemeClr val="bg1">
                  <a:lumMod val="65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66" name="Divisa 12"/>
              <p:cNvSpPr/>
              <p:nvPr/>
            </p:nvSpPr>
            <p:spPr>
              <a:xfrm>
                <a:off x="11037625" y="3829508"/>
                <a:ext cx="1914208" cy="1276139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80010" tIns="53340" rIns="26670" bIns="53340" numCol="1" spcCol="1270" anchor="ctr" anchorCtr="0">
                <a:no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pt-BR" kern="1200" dirty="0"/>
                  <a:t>5. Marcar a </a:t>
                </a:r>
                <a:r>
                  <a:rPr lang="pt-BR" kern="1200" dirty="0" err="1"/>
                  <a:t>dll</a:t>
                </a:r>
                <a:r>
                  <a:rPr lang="pt-BR" kern="1200" dirty="0"/>
                  <a:t> do </a:t>
                </a:r>
                <a:r>
                  <a:rPr lang="pt-BR" kern="1200" dirty="0" err="1"/>
                  <a:t>excel</a:t>
                </a:r>
                <a:r>
                  <a:rPr lang="pt-BR" kern="1200" dirty="0"/>
                  <a:t>  dentro do Project</a:t>
                </a:r>
              </a:p>
            </p:txBody>
          </p:sp>
        </p:grpSp>
      </p:grpSp>
      <p:cxnSp>
        <p:nvCxnSpPr>
          <p:cNvPr id="35" name="Conector de seta reta 34"/>
          <p:cNvCxnSpPr>
            <a:stCxn id="36" idx="2"/>
          </p:cNvCxnSpPr>
          <p:nvPr/>
        </p:nvCxnSpPr>
        <p:spPr>
          <a:xfrm flipH="1">
            <a:off x="15764170" y="8536876"/>
            <a:ext cx="143129" cy="1056967"/>
          </a:xfrm>
          <a:prstGeom prst="straightConnector1">
            <a:avLst/>
          </a:prstGeom>
          <a:ln w="57150">
            <a:solidFill>
              <a:srgbClr val="FF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6" name="Retângulo 35"/>
          <p:cNvSpPr/>
          <p:nvPr/>
        </p:nvSpPr>
        <p:spPr>
          <a:xfrm>
            <a:off x="15649509" y="7792994"/>
            <a:ext cx="515580" cy="743882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4000" dirty="0"/>
              <a:t>1</a:t>
            </a:r>
          </a:p>
        </p:txBody>
      </p:sp>
      <p:sp>
        <p:nvSpPr>
          <p:cNvPr id="38" name="Retângulo 37"/>
          <p:cNvSpPr/>
          <p:nvPr/>
        </p:nvSpPr>
        <p:spPr>
          <a:xfrm>
            <a:off x="15380642" y="10077576"/>
            <a:ext cx="3672408" cy="185611"/>
          </a:xfrm>
          <a:prstGeom prst="rect">
            <a:avLst/>
          </a:prstGeom>
          <a:noFill/>
          <a:ln w="38100">
            <a:solidFill>
              <a:srgbClr val="FF0000"/>
            </a:solidFill>
            <a:prstDash val="sys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cxnSp>
        <p:nvCxnSpPr>
          <p:cNvPr id="40" name="Conector de seta reta 39"/>
          <p:cNvCxnSpPr/>
          <p:nvPr/>
        </p:nvCxnSpPr>
        <p:spPr>
          <a:xfrm>
            <a:off x="14038282" y="9953883"/>
            <a:ext cx="1342360" cy="216498"/>
          </a:xfrm>
          <a:prstGeom prst="straightConnector1">
            <a:avLst/>
          </a:prstGeom>
          <a:ln w="57150">
            <a:solidFill>
              <a:srgbClr val="FF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1" name="Retângulo 40"/>
          <p:cNvSpPr/>
          <p:nvPr/>
        </p:nvSpPr>
        <p:spPr>
          <a:xfrm>
            <a:off x="13522702" y="9308872"/>
            <a:ext cx="515580" cy="743882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4000" dirty="0"/>
              <a:t>2</a:t>
            </a:r>
          </a:p>
        </p:txBody>
      </p:sp>
      <p:sp>
        <p:nvSpPr>
          <p:cNvPr id="31" name="Retângulo 30"/>
          <p:cNvSpPr/>
          <p:nvPr/>
        </p:nvSpPr>
        <p:spPr>
          <a:xfrm>
            <a:off x="15380642" y="9651119"/>
            <a:ext cx="784447" cy="180020"/>
          </a:xfrm>
          <a:prstGeom prst="rect">
            <a:avLst/>
          </a:prstGeom>
          <a:noFill/>
          <a:ln w="38100">
            <a:solidFill>
              <a:srgbClr val="FF0000"/>
            </a:solidFill>
            <a:prstDash val="sys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43" name="Retângulo de cantos arredondados 42"/>
          <p:cNvSpPr/>
          <p:nvPr/>
        </p:nvSpPr>
        <p:spPr>
          <a:xfrm>
            <a:off x="619002" y="4646563"/>
            <a:ext cx="5472608" cy="5673907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44" name="CaixaDeTexto 43"/>
          <p:cNvSpPr txBox="1"/>
          <p:nvPr/>
        </p:nvSpPr>
        <p:spPr>
          <a:xfrm>
            <a:off x="943038" y="4865777"/>
            <a:ext cx="5040560" cy="30931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indent="-742950">
              <a:buAutoNum type="arabicPeriod"/>
            </a:pPr>
            <a:r>
              <a:rPr lang="pt-BR" sz="3600" dirty="0">
                <a:solidFill>
                  <a:srgbClr val="000000"/>
                </a:solidFill>
              </a:rPr>
              <a:t>Clicar em “Redefinir”</a:t>
            </a:r>
          </a:p>
          <a:p>
            <a:pPr marL="742950" indent="-742950">
              <a:buAutoNum type="arabicPeriod"/>
            </a:pPr>
            <a:endParaRPr lang="pt-BR" sz="1500" dirty="0">
              <a:solidFill>
                <a:srgbClr val="000000"/>
              </a:solidFill>
            </a:endParaRPr>
          </a:p>
          <a:p>
            <a:pPr marL="742950" indent="-742950">
              <a:buAutoNum type="arabicPeriod"/>
            </a:pPr>
            <a:r>
              <a:rPr lang="pt-BR" sz="3600" dirty="0">
                <a:solidFill>
                  <a:srgbClr val="000000"/>
                </a:solidFill>
              </a:rPr>
              <a:t>Selecionar a opção “Redefinir todas as personalizações</a:t>
            </a:r>
          </a:p>
          <a:p>
            <a:endParaRPr lang="pt-BR" sz="3600" dirty="0">
              <a:solidFill>
                <a:srgbClr val="000000"/>
              </a:solidFill>
            </a:endParaRPr>
          </a:p>
        </p:txBody>
      </p:sp>
      <p:sp>
        <p:nvSpPr>
          <p:cNvPr id="45" name="Título 1"/>
          <p:cNvSpPr txBox="1">
            <a:spLocks/>
          </p:cNvSpPr>
          <p:nvPr/>
        </p:nvSpPr>
        <p:spPr>
          <a:xfrm>
            <a:off x="835028" y="4215234"/>
            <a:ext cx="5736964" cy="48013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47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936" kern="1200" baseline="0">
                <a:solidFill>
                  <a:srgbClr val="006067"/>
                </a:solidFill>
                <a:latin typeface="Agenda Medium" charset="0"/>
                <a:ea typeface="Agenda Medium" charset="0"/>
                <a:cs typeface="Agenda Medium" charset="0"/>
              </a:defRPr>
            </a:lvl1pPr>
          </a:lstStyle>
          <a:p>
            <a:r>
              <a:rPr lang="en-US" sz="2800" dirty="0">
                <a:solidFill>
                  <a:schemeClr val="accent5">
                    <a:lumMod val="50000"/>
                  </a:schemeClr>
                </a:solidFill>
                <a:latin typeface="+mn-lt"/>
              </a:rPr>
              <a:t>1.2)</a:t>
            </a:r>
            <a:r>
              <a:rPr lang="en-US" sz="2800" dirty="0" err="1">
                <a:solidFill>
                  <a:schemeClr val="accent5">
                    <a:lumMod val="50000"/>
                  </a:schemeClr>
                </a:solidFill>
                <a:latin typeface="+mn-lt"/>
              </a:rPr>
              <a:t>Redefinir</a:t>
            </a:r>
            <a:r>
              <a:rPr lang="en-US" sz="2800" dirty="0">
                <a:solidFill>
                  <a:schemeClr val="accent5">
                    <a:lumMod val="50000"/>
                  </a:schemeClr>
                </a:solidFill>
                <a:latin typeface="+mn-lt"/>
              </a:rPr>
              <a:t> </a:t>
            </a:r>
            <a:r>
              <a:rPr lang="en-US" sz="2800" dirty="0" err="1">
                <a:solidFill>
                  <a:schemeClr val="accent5">
                    <a:lumMod val="50000"/>
                  </a:schemeClr>
                </a:solidFill>
                <a:latin typeface="+mn-lt"/>
              </a:rPr>
              <a:t>todas</a:t>
            </a:r>
            <a:r>
              <a:rPr lang="en-US" sz="2800" dirty="0">
                <a:solidFill>
                  <a:schemeClr val="accent5">
                    <a:lumMod val="50000"/>
                  </a:schemeClr>
                </a:solidFill>
                <a:latin typeface="+mn-lt"/>
              </a:rPr>
              <a:t> as </a:t>
            </a:r>
            <a:r>
              <a:rPr lang="en-US" sz="2800" dirty="0" err="1">
                <a:solidFill>
                  <a:schemeClr val="accent5">
                    <a:lumMod val="50000"/>
                  </a:schemeClr>
                </a:solidFill>
                <a:latin typeface="+mn-lt"/>
              </a:rPr>
              <a:t>personalizações</a:t>
            </a:r>
            <a:endParaRPr lang="en-US" sz="2800" dirty="0">
              <a:solidFill>
                <a:schemeClr val="accent5">
                  <a:lumMod val="50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556958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Picture 2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04" t="22877" r="14905" b="15790"/>
          <a:stretch/>
        </p:blipFill>
        <p:spPr bwMode="auto">
          <a:xfrm>
            <a:off x="6739682" y="4214515"/>
            <a:ext cx="13017308" cy="6582724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graphicFrame>
        <p:nvGraphicFramePr>
          <p:cNvPr id="51" name="Objeto 50" hidden="1">
            <a:extLst>
              <a:ext uri="{FF2B5EF4-FFF2-40B4-BE49-F238E27FC236}">
                <a16:creationId xmlns:a16="http://schemas.microsoft.com/office/drawing/2014/main" id="{7E65BC4C-0858-4F13-A045-BAC5EB65DAD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6" imgW="317" imgH="318" progId="TCLayout.ActiveDocument.1">
                  <p:embed/>
                </p:oleObj>
              </mc:Choice>
              <mc:Fallback>
                <p:oleObj name="Slide do think-cell" r:id="rId6" imgW="317" imgH="318" progId="TCLayout.ActiveDocument.1">
                  <p:embed/>
                  <p:pic>
                    <p:nvPicPr>
                      <p:cNvPr id="51" name="Objeto 50" hidden="1">
                        <a:extLst>
                          <a:ext uri="{FF2B5EF4-FFF2-40B4-BE49-F238E27FC236}">
                            <a16:creationId xmlns:a16="http://schemas.microsoft.com/office/drawing/2014/main" id="{7E65BC4C-0858-4F13-A045-BAC5EB65DA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Retângulo 49" hidden="1">
            <a:extLst>
              <a:ext uri="{FF2B5EF4-FFF2-40B4-BE49-F238E27FC236}">
                <a16:creationId xmlns:a16="http://schemas.microsoft.com/office/drawing/2014/main" id="{B6FD34B5-13C2-49BE-8AF2-FCDC4689AF2B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000">
              <a:latin typeface="Calibri" panose="020F0502020204030204" pitchFamily="34" charset="0"/>
              <a:sym typeface="+mn-lt"/>
            </a:endParaRPr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9CB7E9B1-69E0-4E6D-BF67-AE78100CC5D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9485098" y="10669637"/>
            <a:ext cx="720080" cy="601662"/>
          </a:xfrm>
        </p:spPr>
        <p:txBody>
          <a:bodyPr/>
          <a:lstStyle/>
          <a:p>
            <a:fld id="{BE418F81-F092-F643-8EAE-268022441A30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9" name="Título 1"/>
          <p:cNvSpPr>
            <a:spLocks noGrp="1"/>
          </p:cNvSpPr>
          <p:nvPr>
            <p:ph type="title"/>
          </p:nvPr>
        </p:nvSpPr>
        <p:spPr>
          <a:xfrm>
            <a:off x="546994" y="758131"/>
            <a:ext cx="17058188" cy="840230"/>
          </a:xfrm>
        </p:spPr>
        <p:txBody>
          <a:bodyPr/>
          <a:lstStyle/>
          <a:p>
            <a:r>
              <a:rPr lang="en-US" sz="5400" dirty="0" err="1">
                <a:solidFill>
                  <a:schemeClr val="accent5">
                    <a:lumMod val="50000"/>
                  </a:schemeClr>
                </a:solidFill>
              </a:rPr>
              <a:t>Instalação</a:t>
            </a:r>
            <a:r>
              <a:rPr lang="en-US" sz="5400" dirty="0">
                <a:solidFill>
                  <a:schemeClr val="accent5">
                    <a:lumMod val="50000"/>
                  </a:schemeClr>
                </a:solidFill>
              </a:rPr>
              <a:t> da Barra de </a:t>
            </a:r>
            <a:r>
              <a:rPr lang="en-US" sz="5400" dirty="0" err="1">
                <a:solidFill>
                  <a:schemeClr val="accent5">
                    <a:lumMod val="50000"/>
                  </a:schemeClr>
                </a:solidFill>
              </a:rPr>
              <a:t>Ferramentas</a:t>
            </a:r>
            <a:r>
              <a:rPr lang="en-US" sz="5400" dirty="0">
                <a:solidFill>
                  <a:schemeClr val="accent5">
                    <a:lumMod val="50000"/>
                  </a:schemeClr>
                </a:solidFill>
              </a:rPr>
              <a:t> do GSTI </a:t>
            </a:r>
          </a:p>
        </p:txBody>
      </p:sp>
      <p:grpSp>
        <p:nvGrpSpPr>
          <p:cNvPr id="12" name="Grupo 11"/>
          <p:cNvGrpSpPr/>
          <p:nvPr/>
        </p:nvGrpSpPr>
        <p:grpSpPr>
          <a:xfrm>
            <a:off x="2635225" y="2054275"/>
            <a:ext cx="13321480" cy="1728192"/>
            <a:chOff x="2507233" y="5222627"/>
            <a:chExt cx="13399460" cy="1276139"/>
          </a:xfrm>
        </p:grpSpPr>
        <p:grpSp>
          <p:nvGrpSpPr>
            <p:cNvPr id="60" name="Grupo 59"/>
            <p:cNvGrpSpPr/>
            <p:nvPr/>
          </p:nvGrpSpPr>
          <p:grpSpPr>
            <a:xfrm>
              <a:off x="2507233" y="5222627"/>
              <a:ext cx="3190347" cy="1276139"/>
              <a:chOff x="1636" y="3829508"/>
              <a:chExt cx="3190347" cy="1276139"/>
            </a:xfrm>
          </p:grpSpPr>
          <p:sp>
            <p:nvSpPr>
              <p:cNvPr id="73" name="Pentágono 72"/>
              <p:cNvSpPr/>
              <p:nvPr/>
            </p:nvSpPr>
            <p:spPr>
              <a:xfrm>
                <a:off x="1636" y="3829508"/>
                <a:ext cx="3190347" cy="1276139"/>
              </a:xfrm>
              <a:prstGeom prst="homePlate">
                <a:avLst/>
              </a:pr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74" name="Pentágono 4"/>
              <p:cNvSpPr/>
              <p:nvPr/>
            </p:nvSpPr>
            <p:spPr>
              <a:xfrm>
                <a:off x="1636" y="3829508"/>
                <a:ext cx="2871312" cy="1276139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106680" tIns="53340" rIns="26670" bIns="53340" numCol="1" spcCol="1270" anchor="ctr" anchorCtr="0">
                <a:no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pt-BR" sz="2400" kern="1200" dirty="0"/>
                  <a:t>1. Exclusão de todas as personalizações</a:t>
                </a:r>
              </a:p>
            </p:txBody>
          </p:sp>
        </p:grpSp>
        <p:grpSp>
          <p:nvGrpSpPr>
            <p:cNvPr id="61" name="Grupo 60"/>
            <p:cNvGrpSpPr/>
            <p:nvPr/>
          </p:nvGrpSpPr>
          <p:grpSpPr>
            <a:xfrm>
              <a:off x="5059511" y="5222627"/>
              <a:ext cx="3190347" cy="1276139"/>
              <a:chOff x="2553914" y="3829508"/>
              <a:chExt cx="3190347" cy="1276139"/>
            </a:xfrm>
          </p:grpSpPr>
          <p:sp>
            <p:nvSpPr>
              <p:cNvPr id="71" name="Divisa 70"/>
              <p:cNvSpPr/>
              <p:nvPr/>
            </p:nvSpPr>
            <p:spPr>
              <a:xfrm>
                <a:off x="2553914" y="3829508"/>
                <a:ext cx="3190347" cy="1276139"/>
              </a:xfrm>
              <a:prstGeom prst="chevron">
                <a:avLst/>
              </a:prstGeom>
              <a:solidFill>
                <a:schemeClr val="bg1">
                  <a:lumMod val="65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72" name="Divisa 6"/>
              <p:cNvSpPr/>
              <p:nvPr/>
            </p:nvSpPr>
            <p:spPr>
              <a:xfrm>
                <a:off x="3191984" y="3829508"/>
                <a:ext cx="1914208" cy="1276139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80010" tIns="53340" rIns="26670" bIns="53340" numCol="1" spcCol="1270" anchor="ctr" anchorCtr="0">
                <a:no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pt-BR" kern="1200" dirty="0"/>
                  <a:t>2. Exclusão dos módulos e formulários existentes (VB)</a:t>
                </a:r>
              </a:p>
            </p:txBody>
          </p:sp>
        </p:grpSp>
        <p:grpSp>
          <p:nvGrpSpPr>
            <p:cNvPr id="62" name="Grupo 61"/>
            <p:cNvGrpSpPr/>
            <p:nvPr/>
          </p:nvGrpSpPr>
          <p:grpSpPr>
            <a:xfrm>
              <a:off x="7611789" y="5222627"/>
              <a:ext cx="3190347" cy="1276139"/>
              <a:chOff x="5106192" y="3829508"/>
              <a:chExt cx="3190347" cy="1276139"/>
            </a:xfrm>
          </p:grpSpPr>
          <p:sp>
            <p:nvSpPr>
              <p:cNvPr id="69" name="Divisa 68"/>
              <p:cNvSpPr/>
              <p:nvPr/>
            </p:nvSpPr>
            <p:spPr>
              <a:xfrm>
                <a:off x="5106192" y="3829508"/>
                <a:ext cx="3190347" cy="1276139"/>
              </a:xfrm>
              <a:prstGeom prst="chevron">
                <a:avLst/>
              </a:prstGeom>
              <a:solidFill>
                <a:schemeClr val="bg1">
                  <a:lumMod val="65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70" name="Divisa 8"/>
              <p:cNvSpPr/>
              <p:nvPr/>
            </p:nvSpPr>
            <p:spPr>
              <a:xfrm>
                <a:off x="5744262" y="3829508"/>
                <a:ext cx="1914208" cy="1276139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80010" tIns="53340" rIns="26670" bIns="53340" numCol="1" spcCol="1270" anchor="ctr" anchorCtr="0">
                <a:no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pt-BR" kern="1200" dirty="0"/>
                  <a:t>3. Importação de novos módulos</a:t>
                </a:r>
              </a:p>
            </p:txBody>
          </p:sp>
        </p:grpSp>
        <p:grpSp>
          <p:nvGrpSpPr>
            <p:cNvPr id="63" name="Grupo 62"/>
            <p:cNvGrpSpPr/>
            <p:nvPr/>
          </p:nvGrpSpPr>
          <p:grpSpPr>
            <a:xfrm>
              <a:off x="10164067" y="5222627"/>
              <a:ext cx="3190347" cy="1276139"/>
              <a:chOff x="7658470" y="3829508"/>
              <a:chExt cx="3190347" cy="1276139"/>
            </a:xfrm>
          </p:grpSpPr>
          <p:sp>
            <p:nvSpPr>
              <p:cNvPr id="67" name="Divisa 66"/>
              <p:cNvSpPr/>
              <p:nvPr/>
            </p:nvSpPr>
            <p:spPr>
              <a:xfrm>
                <a:off x="7658470" y="3829508"/>
                <a:ext cx="3190347" cy="1276139"/>
              </a:xfrm>
              <a:prstGeom prst="chevron">
                <a:avLst/>
              </a:prstGeom>
              <a:solidFill>
                <a:schemeClr val="bg1">
                  <a:lumMod val="65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68" name="Divisa 10"/>
              <p:cNvSpPr/>
              <p:nvPr/>
            </p:nvSpPr>
            <p:spPr>
              <a:xfrm>
                <a:off x="8296540" y="3829508"/>
                <a:ext cx="1914208" cy="1276139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80010" tIns="53340" rIns="26670" bIns="53340" numCol="1" spcCol="1270" anchor="ctr" anchorCtr="0">
                <a:no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pt-BR" kern="1200" dirty="0"/>
                  <a:t>4. Importação da barra de ferramentas GSTI</a:t>
                </a:r>
              </a:p>
            </p:txBody>
          </p:sp>
        </p:grpSp>
        <p:grpSp>
          <p:nvGrpSpPr>
            <p:cNvPr id="64" name="Grupo 63"/>
            <p:cNvGrpSpPr/>
            <p:nvPr/>
          </p:nvGrpSpPr>
          <p:grpSpPr>
            <a:xfrm>
              <a:off x="12716346" y="5222627"/>
              <a:ext cx="3190347" cy="1276139"/>
              <a:chOff x="10210749" y="3829508"/>
              <a:chExt cx="3190347" cy="1276139"/>
            </a:xfrm>
          </p:grpSpPr>
          <p:sp>
            <p:nvSpPr>
              <p:cNvPr id="65" name="Divisa 64"/>
              <p:cNvSpPr/>
              <p:nvPr/>
            </p:nvSpPr>
            <p:spPr>
              <a:xfrm>
                <a:off x="10210749" y="3829508"/>
                <a:ext cx="3190347" cy="1276139"/>
              </a:xfrm>
              <a:prstGeom prst="chevron">
                <a:avLst/>
              </a:prstGeom>
              <a:solidFill>
                <a:schemeClr val="bg1">
                  <a:lumMod val="65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66" name="Divisa 12"/>
              <p:cNvSpPr/>
              <p:nvPr/>
            </p:nvSpPr>
            <p:spPr>
              <a:xfrm>
                <a:off x="11037625" y="3829508"/>
                <a:ext cx="1914208" cy="1276139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80010" tIns="53340" rIns="26670" bIns="53340" numCol="1" spcCol="1270" anchor="ctr" anchorCtr="0">
                <a:no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pt-BR" kern="1200" dirty="0"/>
                  <a:t>5. Marcar a </a:t>
                </a:r>
                <a:r>
                  <a:rPr lang="pt-BR" kern="1200" dirty="0" err="1"/>
                  <a:t>dll</a:t>
                </a:r>
                <a:r>
                  <a:rPr lang="pt-BR" kern="1200" dirty="0"/>
                  <a:t> do </a:t>
                </a:r>
                <a:r>
                  <a:rPr lang="pt-BR" kern="1200" dirty="0" err="1"/>
                  <a:t>excel</a:t>
                </a:r>
                <a:r>
                  <a:rPr lang="pt-BR" kern="1200" dirty="0"/>
                  <a:t>  dentro do Project</a:t>
                </a:r>
              </a:p>
            </p:txBody>
          </p:sp>
        </p:grpSp>
      </p:grpSp>
      <p:cxnSp>
        <p:nvCxnSpPr>
          <p:cNvPr id="35" name="Conector de seta reta 34"/>
          <p:cNvCxnSpPr>
            <a:stCxn id="36" idx="3"/>
          </p:cNvCxnSpPr>
          <p:nvPr/>
        </p:nvCxnSpPr>
        <p:spPr>
          <a:xfrm>
            <a:off x="11019328" y="7406930"/>
            <a:ext cx="981150" cy="98948"/>
          </a:xfrm>
          <a:prstGeom prst="straightConnector1">
            <a:avLst/>
          </a:prstGeom>
          <a:ln w="57150">
            <a:solidFill>
              <a:srgbClr val="FF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6" name="Retângulo 35"/>
          <p:cNvSpPr/>
          <p:nvPr/>
        </p:nvSpPr>
        <p:spPr>
          <a:xfrm>
            <a:off x="10503748" y="7034989"/>
            <a:ext cx="515580" cy="743882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4000" dirty="0"/>
              <a:t>1</a:t>
            </a:r>
          </a:p>
        </p:txBody>
      </p:sp>
      <p:sp>
        <p:nvSpPr>
          <p:cNvPr id="31" name="Retângulo 30"/>
          <p:cNvSpPr/>
          <p:nvPr/>
        </p:nvSpPr>
        <p:spPr>
          <a:xfrm>
            <a:off x="12000478" y="7382867"/>
            <a:ext cx="1003900" cy="266932"/>
          </a:xfrm>
          <a:prstGeom prst="rect">
            <a:avLst/>
          </a:prstGeom>
          <a:noFill/>
          <a:ln w="38100">
            <a:solidFill>
              <a:srgbClr val="FF0000"/>
            </a:solidFill>
            <a:prstDash val="sys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43" name="Retângulo de cantos arredondados 42"/>
          <p:cNvSpPr/>
          <p:nvPr/>
        </p:nvSpPr>
        <p:spPr>
          <a:xfrm>
            <a:off x="619002" y="4646563"/>
            <a:ext cx="5472608" cy="5673907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44" name="CaixaDeTexto 43"/>
          <p:cNvSpPr txBox="1"/>
          <p:nvPr/>
        </p:nvSpPr>
        <p:spPr>
          <a:xfrm>
            <a:off x="943038" y="4864328"/>
            <a:ext cx="50405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600" dirty="0">
                <a:solidFill>
                  <a:srgbClr val="000000"/>
                </a:solidFill>
              </a:rPr>
              <a:t>1.Clicar em “Sim”</a:t>
            </a:r>
          </a:p>
        </p:txBody>
      </p:sp>
      <p:sp>
        <p:nvSpPr>
          <p:cNvPr id="45" name="Título 1"/>
          <p:cNvSpPr txBox="1">
            <a:spLocks/>
          </p:cNvSpPr>
          <p:nvPr/>
        </p:nvSpPr>
        <p:spPr>
          <a:xfrm>
            <a:off x="835028" y="4215234"/>
            <a:ext cx="5736964" cy="48013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47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936" kern="1200" baseline="0">
                <a:solidFill>
                  <a:srgbClr val="006067"/>
                </a:solidFill>
                <a:latin typeface="Agenda Medium" charset="0"/>
                <a:ea typeface="Agenda Medium" charset="0"/>
                <a:cs typeface="Agenda Medium" charset="0"/>
              </a:defRPr>
            </a:lvl1pPr>
          </a:lstStyle>
          <a:p>
            <a:r>
              <a:rPr lang="en-US" sz="2800" dirty="0">
                <a:solidFill>
                  <a:schemeClr val="accent5">
                    <a:lumMod val="50000"/>
                  </a:schemeClr>
                </a:solidFill>
                <a:latin typeface="+mn-lt"/>
              </a:rPr>
              <a:t>1.3)</a:t>
            </a:r>
            <a:r>
              <a:rPr lang="en-US" sz="2800" dirty="0" err="1">
                <a:solidFill>
                  <a:schemeClr val="accent5">
                    <a:lumMod val="50000"/>
                  </a:schemeClr>
                </a:solidFill>
                <a:latin typeface="+mn-lt"/>
              </a:rPr>
              <a:t>Excluir</a:t>
            </a:r>
            <a:r>
              <a:rPr lang="en-US" sz="2800" dirty="0">
                <a:solidFill>
                  <a:schemeClr val="accent5">
                    <a:lumMod val="50000"/>
                  </a:schemeClr>
                </a:solidFill>
                <a:latin typeface="+mn-lt"/>
              </a:rPr>
              <a:t> </a:t>
            </a:r>
            <a:r>
              <a:rPr lang="en-US" sz="2800" dirty="0" err="1">
                <a:solidFill>
                  <a:schemeClr val="accent5">
                    <a:lumMod val="50000"/>
                  </a:schemeClr>
                </a:solidFill>
                <a:latin typeface="+mn-lt"/>
              </a:rPr>
              <a:t>todas</a:t>
            </a:r>
            <a:r>
              <a:rPr lang="en-US" sz="2800" dirty="0">
                <a:solidFill>
                  <a:schemeClr val="accent5">
                    <a:lumMod val="50000"/>
                  </a:schemeClr>
                </a:solidFill>
                <a:latin typeface="+mn-lt"/>
              </a:rPr>
              <a:t> as </a:t>
            </a:r>
            <a:r>
              <a:rPr lang="en-US" sz="2800" dirty="0" err="1">
                <a:solidFill>
                  <a:schemeClr val="accent5">
                    <a:lumMod val="50000"/>
                  </a:schemeClr>
                </a:solidFill>
                <a:latin typeface="+mn-lt"/>
              </a:rPr>
              <a:t>personalizações</a:t>
            </a:r>
            <a:endParaRPr lang="en-US" sz="2800" dirty="0">
              <a:solidFill>
                <a:schemeClr val="accent5">
                  <a:lumMod val="50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44462113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" name="Objeto 50" hidden="1">
            <a:extLst>
              <a:ext uri="{FF2B5EF4-FFF2-40B4-BE49-F238E27FC236}">
                <a16:creationId xmlns:a16="http://schemas.microsoft.com/office/drawing/2014/main" id="{7E65BC4C-0858-4F13-A045-BAC5EB65DAD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5" imgW="317" imgH="318" progId="TCLayout.ActiveDocument.1">
                  <p:embed/>
                </p:oleObj>
              </mc:Choice>
              <mc:Fallback>
                <p:oleObj name="Slide do think-cell" r:id="rId5" imgW="317" imgH="318" progId="TCLayout.ActiveDocument.1">
                  <p:embed/>
                  <p:pic>
                    <p:nvPicPr>
                      <p:cNvPr id="51" name="Objeto 50" hidden="1">
                        <a:extLst>
                          <a:ext uri="{FF2B5EF4-FFF2-40B4-BE49-F238E27FC236}">
                            <a16:creationId xmlns:a16="http://schemas.microsoft.com/office/drawing/2014/main" id="{7E65BC4C-0858-4F13-A045-BAC5EB65DA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Retângulo 49" hidden="1">
            <a:extLst>
              <a:ext uri="{FF2B5EF4-FFF2-40B4-BE49-F238E27FC236}">
                <a16:creationId xmlns:a16="http://schemas.microsoft.com/office/drawing/2014/main" id="{B6FD34B5-13C2-49BE-8AF2-FCDC4689AF2B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000">
              <a:latin typeface="Calibri" panose="020F0502020204030204" pitchFamily="34" charset="0"/>
              <a:sym typeface="+mn-lt"/>
            </a:endParaRPr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9CB7E9B1-69E0-4E6D-BF67-AE78100CC5D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9485098" y="10669637"/>
            <a:ext cx="720080" cy="601662"/>
          </a:xfrm>
        </p:spPr>
        <p:txBody>
          <a:bodyPr/>
          <a:lstStyle/>
          <a:p>
            <a:fld id="{BE418F81-F092-F643-8EAE-268022441A30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9" name="Título 1"/>
          <p:cNvSpPr>
            <a:spLocks noGrp="1"/>
          </p:cNvSpPr>
          <p:nvPr>
            <p:ph type="title"/>
          </p:nvPr>
        </p:nvSpPr>
        <p:spPr>
          <a:xfrm>
            <a:off x="546994" y="758131"/>
            <a:ext cx="17058188" cy="840230"/>
          </a:xfrm>
        </p:spPr>
        <p:txBody>
          <a:bodyPr/>
          <a:lstStyle/>
          <a:p>
            <a:r>
              <a:rPr lang="en-US" sz="5400" dirty="0" err="1">
                <a:solidFill>
                  <a:schemeClr val="accent5">
                    <a:lumMod val="50000"/>
                  </a:schemeClr>
                </a:solidFill>
              </a:rPr>
              <a:t>Instalação</a:t>
            </a:r>
            <a:r>
              <a:rPr lang="en-US" sz="5400" dirty="0">
                <a:solidFill>
                  <a:schemeClr val="accent5">
                    <a:lumMod val="50000"/>
                  </a:schemeClr>
                </a:solidFill>
              </a:rPr>
              <a:t> da Barra de </a:t>
            </a:r>
            <a:r>
              <a:rPr lang="en-US" sz="5400" dirty="0" err="1">
                <a:solidFill>
                  <a:schemeClr val="accent5">
                    <a:lumMod val="50000"/>
                  </a:schemeClr>
                </a:solidFill>
              </a:rPr>
              <a:t>Ferramentas</a:t>
            </a:r>
            <a:r>
              <a:rPr lang="en-US" sz="5400" dirty="0">
                <a:solidFill>
                  <a:schemeClr val="accent5">
                    <a:lumMod val="50000"/>
                  </a:schemeClr>
                </a:solidFill>
              </a:rPr>
              <a:t> do GSTI </a:t>
            </a:r>
          </a:p>
        </p:txBody>
      </p:sp>
      <p:grpSp>
        <p:nvGrpSpPr>
          <p:cNvPr id="12" name="Grupo 11"/>
          <p:cNvGrpSpPr/>
          <p:nvPr/>
        </p:nvGrpSpPr>
        <p:grpSpPr>
          <a:xfrm>
            <a:off x="2635225" y="2054275"/>
            <a:ext cx="13321480" cy="1728192"/>
            <a:chOff x="2507233" y="5222627"/>
            <a:chExt cx="13399460" cy="1276139"/>
          </a:xfrm>
        </p:grpSpPr>
        <p:grpSp>
          <p:nvGrpSpPr>
            <p:cNvPr id="60" name="Grupo 59"/>
            <p:cNvGrpSpPr/>
            <p:nvPr/>
          </p:nvGrpSpPr>
          <p:grpSpPr>
            <a:xfrm>
              <a:off x="2507233" y="5222627"/>
              <a:ext cx="3190347" cy="1276139"/>
              <a:chOff x="1636" y="3829508"/>
              <a:chExt cx="3190347" cy="1276139"/>
            </a:xfrm>
          </p:grpSpPr>
          <p:sp>
            <p:nvSpPr>
              <p:cNvPr id="73" name="Pentágono 72"/>
              <p:cNvSpPr/>
              <p:nvPr/>
            </p:nvSpPr>
            <p:spPr>
              <a:xfrm>
                <a:off x="1636" y="3829508"/>
                <a:ext cx="3190347" cy="1276139"/>
              </a:xfrm>
              <a:prstGeom prst="homePlate">
                <a:avLst/>
              </a:prstGeom>
              <a:solidFill>
                <a:schemeClr val="bg1">
                  <a:lumMod val="65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74" name="Pentágono 4"/>
              <p:cNvSpPr/>
              <p:nvPr/>
            </p:nvSpPr>
            <p:spPr>
              <a:xfrm>
                <a:off x="1636" y="3829508"/>
                <a:ext cx="2871312" cy="1276139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106680" tIns="53340" rIns="26670" bIns="53340" numCol="1" spcCol="1270" anchor="ctr" anchorCtr="0">
                <a:no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pt-BR" kern="1200" dirty="0"/>
                  <a:t>1. Exclusão de todas as personalizações</a:t>
                </a:r>
              </a:p>
            </p:txBody>
          </p:sp>
        </p:grpSp>
        <p:grpSp>
          <p:nvGrpSpPr>
            <p:cNvPr id="61" name="Grupo 60"/>
            <p:cNvGrpSpPr/>
            <p:nvPr/>
          </p:nvGrpSpPr>
          <p:grpSpPr>
            <a:xfrm>
              <a:off x="5059511" y="5222627"/>
              <a:ext cx="3190347" cy="1276139"/>
              <a:chOff x="2553914" y="3829508"/>
              <a:chExt cx="3190347" cy="1276139"/>
            </a:xfrm>
          </p:grpSpPr>
          <p:sp>
            <p:nvSpPr>
              <p:cNvPr id="71" name="Divisa 70"/>
              <p:cNvSpPr/>
              <p:nvPr/>
            </p:nvSpPr>
            <p:spPr>
              <a:xfrm>
                <a:off x="2553914" y="3829508"/>
                <a:ext cx="3190347" cy="1276139"/>
              </a:xfrm>
              <a:prstGeom prst="chevron">
                <a:avLst/>
              </a:prstGeom>
              <a:solidFill>
                <a:schemeClr val="accent1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72" name="Divisa 6"/>
              <p:cNvSpPr/>
              <p:nvPr/>
            </p:nvSpPr>
            <p:spPr>
              <a:xfrm>
                <a:off x="3260965" y="3829508"/>
                <a:ext cx="1914208" cy="1276139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80010" tIns="53340" rIns="26670" bIns="53340" numCol="1" spcCol="1270" anchor="ctr" anchorCtr="0">
                <a:no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pt-BR" sz="2400" kern="1200" dirty="0"/>
                  <a:t>2. Exclusão dos módulos e formulários existentes </a:t>
                </a:r>
              </a:p>
            </p:txBody>
          </p:sp>
        </p:grpSp>
        <p:grpSp>
          <p:nvGrpSpPr>
            <p:cNvPr id="62" name="Grupo 61"/>
            <p:cNvGrpSpPr/>
            <p:nvPr/>
          </p:nvGrpSpPr>
          <p:grpSpPr>
            <a:xfrm>
              <a:off x="7611789" y="5222627"/>
              <a:ext cx="3190347" cy="1276139"/>
              <a:chOff x="5106192" y="3829508"/>
              <a:chExt cx="3190347" cy="1276139"/>
            </a:xfrm>
          </p:grpSpPr>
          <p:sp>
            <p:nvSpPr>
              <p:cNvPr id="69" name="Divisa 68"/>
              <p:cNvSpPr/>
              <p:nvPr/>
            </p:nvSpPr>
            <p:spPr>
              <a:xfrm>
                <a:off x="5106192" y="3829508"/>
                <a:ext cx="3190347" cy="1276139"/>
              </a:xfrm>
              <a:prstGeom prst="chevron">
                <a:avLst/>
              </a:prstGeom>
              <a:solidFill>
                <a:schemeClr val="bg1">
                  <a:lumMod val="65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70" name="Divisa 8"/>
              <p:cNvSpPr/>
              <p:nvPr/>
            </p:nvSpPr>
            <p:spPr>
              <a:xfrm>
                <a:off x="5744262" y="3829508"/>
                <a:ext cx="1914208" cy="1276139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80010" tIns="53340" rIns="26670" bIns="53340" numCol="1" spcCol="1270" anchor="ctr" anchorCtr="0">
                <a:no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pt-BR" kern="1200" dirty="0"/>
                  <a:t>3. Importação de novos módulos</a:t>
                </a:r>
              </a:p>
            </p:txBody>
          </p:sp>
        </p:grpSp>
        <p:grpSp>
          <p:nvGrpSpPr>
            <p:cNvPr id="63" name="Grupo 62"/>
            <p:cNvGrpSpPr/>
            <p:nvPr/>
          </p:nvGrpSpPr>
          <p:grpSpPr>
            <a:xfrm>
              <a:off x="10164067" y="5222627"/>
              <a:ext cx="3190347" cy="1276139"/>
              <a:chOff x="7658470" y="3829508"/>
              <a:chExt cx="3190347" cy="1276139"/>
            </a:xfrm>
          </p:grpSpPr>
          <p:sp>
            <p:nvSpPr>
              <p:cNvPr id="67" name="Divisa 66"/>
              <p:cNvSpPr/>
              <p:nvPr/>
            </p:nvSpPr>
            <p:spPr>
              <a:xfrm>
                <a:off x="7658470" y="3829508"/>
                <a:ext cx="3190347" cy="1276139"/>
              </a:xfrm>
              <a:prstGeom prst="chevron">
                <a:avLst/>
              </a:prstGeom>
              <a:solidFill>
                <a:schemeClr val="bg1">
                  <a:lumMod val="65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68" name="Divisa 10"/>
              <p:cNvSpPr/>
              <p:nvPr/>
            </p:nvSpPr>
            <p:spPr>
              <a:xfrm>
                <a:off x="8296540" y="3829508"/>
                <a:ext cx="1914208" cy="1276139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80010" tIns="53340" rIns="26670" bIns="53340" numCol="1" spcCol="1270" anchor="ctr" anchorCtr="0">
                <a:no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pt-BR" kern="1200" dirty="0"/>
                  <a:t>4. Importação da barra de ferramentas GSTI</a:t>
                </a:r>
              </a:p>
            </p:txBody>
          </p:sp>
        </p:grpSp>
        <p:grpSp>
          <p:nvGrpSpPr>
            <p:cNvPr id="64" name="Grupo 63"/>
            <p:cNvGrpSpPr/>
            <p:nvPr/>
          </p:nvGrpSpPr>
          <p:grpSpPr>
            <a:xfrm>
              <a:off x="12716346" y="5222627"/>
              <a:ext cx="3190347" cy="1276139"/>
              <a:chOff x="10210749" y="3829508"/>
              <a:chExt cx="3190347" cy="1276139"/>
            </a:xfrm>
          </p:grpSpPr>
          <p:sp>
            <p:nvSpPr>
              <p:cNvPr id="65" name="Divisa 64"/>
              <p:cNvSpPr/>
              <p:nvPr/>
            </p:nvSpPr>
            <p:spPr>
              <a:xfrm>
                <a:off x="10210749" y="3829508"/>
                <a:ext cx="3190347" cy="1276139"/>
              </a:xfrm>
              <a:prstGeom prst="chevron">
                <a:avLst/>
              </a:prstGeom>
              <a:solidFill>
                <a:schemeClr val="bg1">
                  <a:lumMod val="65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66" name="Divisa 12"/>
              <p:cNvSpPr/>
              <p:nvPr/>
            </p:nvSpPr>
            <p:spPr>
              <a:xfrm>
                <a:off x="11037625" y="3829508"/>
                <a:ext cx="1914208" cy="1276139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80010" tIns="53340" rIns="26670" bIns="53340" numCol="1" spcCol="1270" anchor="ctr" anchorCtr="0">
                <a:no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pt-BR" kern="1200" dirty="0"/>
                  <a:t>5. Marcar a </a:t>
                </a:r>
                <a:r>
                  <a:rPr lang="pt-BR" kern="1200" dirty="0" err="1"/>
                  <a:t>dll</a:t>
                </a:r>
                <a:r>
                  <a:rPr lang="pt-BR" kern="1200" dirty="0"/>
                  <a:t> do </a:t>
                </a:r>
                <a:r>
                  <a:rPr lang="pt-BR" kern="1200" dirty="0" err="1"/>
                  <a:t>excel</a:t>
                </a:r>
                <a:r>
                  <a:rPr lang="pt-BR" kern="1200" dirty="0"/>
                  <a:t>  dentro do Project</a:t>
                </a:r>
              </a:p>
            </p:txBody>
          </p:sp>
        </p:grpSp>
      </p:grpSp>
      <p:cxnSp>
        <p:nvCxnSpPr>
          <p:cNvPr id="35" name="Conector de seta reta 34"/>
          <p:cNvCxnSpPr>
            <a:stCxn id="36" idx="3"/>
          </p:cNvCxnSpPr>
          <p:nvPr/>
        </p:nvCxnSpPr>
        <p:spPr>
          <a:xfrm>
            <a:off x="11019328" y="7406930"/>
            <a:ext cx="981150" cy="98948"/>
          </a:xfrm>
          <a:prstGeom prst="straightConnector1">
            <a:avLst/>
          </a:prstGeom>
          <a:ln w="57150">
            <a:solidFill>
              <a:srgbClr val="FF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6" name="Retângulo 35"/>
          <p:cNvSpPr/>
          <p:nvPr/>
        </p:nvSpPr>
        <p:spPr>
          <a:xfrm>
            <a:off x="10503748" y="7034989"/>
            <a:ext cx="515580" cy="743882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4000" dirty="0"/>
              <a:t>1</a:t>
            </a:r>
          </a:p>
        </p:txBody>
      </p:sp>
      <p:sp>
        <p:nvSpPr>
          <p:cNvPr id="31" name="Retângulo 30"/>
          <p:cNvSpPr/>
          <p:nvPr/>
        </p:nvSpPr>
        <p:spPr>
          <a:xfrm>
            <a:off x="12000478" y="7382867"/>
            <a:ext cx="1003900" cy="266932"/>
          </a:xfrm>
          <a:prstGeom prst="rect">
            <a:avLst/>
          </a:prstGeom>
          <a:noFill/>
          <a:ln w="38100">
            <a:solidFill>
              <a:srgbClr val="FF0000"/>
            </a:solidFill>
            <a:prstDash val="sys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pic>
        <p:nvPicPr>
          <p:cNvPr id="33" name="Picture 2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081" t="18322" r="14933" b="19643"/>
          <a:stretch/>
        </p:blipFill>
        <p:spPr bwMode="auto">
          <a:xfrm>
            <a:off x="6641585" y="4194799"/>
            <a:ext cx="13059537" cy="660244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40" name="Retângulo de cantos arredondados 39"/>
          <p:cNvSpPr/>
          <p:nvPr/>
        </p:nvSpPr>
        <p:spPr>
          <a:xfrm>
            <a:off x="619002" y="4646563"/>
            <a:ext cx="5472608" cy="5673907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41" name="CaixaDeTexto 40"/>
          <p:cNvSpPr txBox="1"/>
          <p:nvPr/>
        </p:nvSpPr>
        <p:spPr>
          <a:xfrm>
            <a:off x="943038" y="4843710"/>
            <a:ext cx="4932548" cy="25391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pt-BR" sz="3600" dirty="0">
                <a:solidFill>
                  <a:srgbClr val="000000"/>
                </a:solidFill>
              </a:rPr>
              <a:t>Retornar à pagina inicial</a:t>
            </a:r>
          </a:p>
          <a:p>
            <a:pPr marL="342900" indent="-342900">
              <a:buFont typeface="+mj-lt"/>
              <a:buAutoNum type="arabicPeriod"/>
            </a:pPr>
            <a:endParaRPr lang="pt-BR" sz="1500" dirty="0">
              <a:solidFill>
                <a:srgbClr val="000000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pt-BR" sz="3600" dirty="0">
                <a:solidFill>
                  <a:srgbClr val="000000"/>
                </a:solidFill>
              </a:rPr>
              <a:t>Digitar “Alt+F11” para acessar o visual </a:t>
            </a:r>
            <a:r>
              <a:rPr lang="pt-BR" sz="3600" dirty="0" err="1">
                <a:solidFill>
                  <a:srgbClr val="000000"/>
                </a:solidFill>
              </a:rPr>
              <a:t>basic</a:t>
            </a:r>
            <a:endParaRPr lang="pt-BR" sz="3600" dirty="0">
              <a:solidFill>
                <a:srgbClr val="000000"/>
              </a:solidFill>
            </a:endParaRPr>
          </a:p>
        </p:txBody>
      </p:sp>
      <p:sp>
        <p:nvSpPr>
          <p:cNvPr id="42" name="Título 1"/>
          <p:cNvSpPr txBox="1">
            <a:spLocks/>
          </p:cNvSpPr>
          <p:nvPr/>
        </p:nvSpPr>
        <p:spPr>
          <a:xfrm>
            <a:off x="835028" y="4215234"/>
            <a:ext cx="5256581" cy="48013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47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936" kern="1200" baseline="0">
                <a:solidFill>
                  <a:srgbClr val="006067"/>
                </a:solidFill>
                <a:latin typeface="Agenda Medium" charset="0"/>
                <a:ea typeface="Agenda Medium" charset="0"/>
                <a:cs typeface="Agenda Medium" charset="0"/>
              </a:defRPr>
            </a:lvl1pPr>
          </a:lstStyle>
          <a:p>
            <a:r>
              <a:rPr lang="en-US" sz="2800" dirty="0">
                <a:solidFill>
                  <a:schemeClr val="accent5">
                    <a:lumMod val="50000"/>
                  </a:schemeClr>
                </a:solidFill>
                <a:latin typeface="+mn-lt"/>
              </a:rPr>
              <a:t>2.1)</a:t>
            </a:r>
            <a:r>
              <a:rPr lang="en-US" sz="2800" dirty="0" err="1">
                <a:solidFill>
                  <a:schemeClr val="accent5">
                    <a:lumMod val="50000"/>
                  </a:schemeClr>
                </a:solidFill>
                <a:latin typeface="+mn-lt"/>
              </a:rPr>
              <a:t>Acessar</a:t>
            </a:r>
            <a:r>
              <a:rPr lang="en-US" sz="2800" dirty="0">
                <a:solidFill>
                  <a:schemeClr val="accent5">
                    <a:lumMod val="50000"/>
                  </a:schemeClr>
                </a:solidFill>
                <a:latin typeface="+mn-lt"/>
              </a:rPr>
              <a:t> o Visual Basic</a:t>
            </a:r>
          </a:p>
        </p:txBody>
      </p:sp>
    </p:spTree>
    <p:extLst>
      <p:ext uri="{BB962C8B-B14F-4D97-AF65-F5344CB8AC3E}">
        <p14:creationId xmlns:p14="http://schemas.microsoft.com/office/powerpoint/2010/main" val="366641386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62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1455" y="4114958"/>
            <a:ext cx="6945533" cy="670624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graphicFrame>
        <p:nvGraphicFramePr>
          <p:cNvPr id="51" name="Objeto 50" hidden="1">
            <a:extLst>
              <a:ext uri="{FF2B5EF4-FFF2-40B4-BE49-F238E27FC236}">
                <a16:creationId xmlns:a16="http://schemas.microsoft.com/office/drawing/2014/main" id="{7E65BC4C-0858-4F13-A045-BAC5EB65DAD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6" imgW="317" imgH="318" progId="TCLayout.ActiveDocument.1">
                  <p:embed/>
                </p:oleObj>
              </mc:Choice>
              <mc:Fallback>
                <p:oleObj name="Slide do think-cell" r:id="rId6" imgW="317" imgH="318" progId="TCLayout.ActiveDocument.1">
                  <p:embed/>
                  <p:pic>
                    <p:nvPicPr>
                      <p:cNvPr id="51" name="Objeto 50" hidden="1">
                        <a:extLst>
                          <a:ext uri="{FF2B5EF4-FFF2-40B4-BE49-F238E27FC236}">
                            <a16:creationId xmlns:a16="http://schemas.microsoft.com/office/drawing/2014/main" id="{7E65BC4C-0858-4F13-A045-BAC5EB65DA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Retângulo 49" hidden="1">
            <a:extLst>
              <a:ext uri="{FF2B5EF4-FFF2-40B4-BE49-F238E27FC236}">
                <a16:creationId xmlns:a16="http://schemas.microsoft.com/office/drawing/2014/main" id="{B6FD34B5-13C2-49BE-8AF2-FCDC4689AF2B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000">
              <a:latin typeface="Calibri" panose="020F0502020204030204" pitchFamily="34" charset="0"/>
              <a:sym typeface="+mn-lt"/>
            </a:endParaRPr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9CB7E9B1-69E0-4E6D-BF67-AE78100CC5D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9485098" y="10669637"/>
            <a:ext cx="720080" cy="601662"/>
          </a:xfrm>
        </p:spPr>
        <p:txBody>
          <a:bodyPr/>
          <a:lstStyle/>
          <a:p>
            <a:fld id="{BE418F81-F092-F643-8EAE-268022441A30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9" name="Título 1"/>
          <p:cNvSpPr>
            <a:spLocks noGrp="1"/>
          </p:cNvSpPr>
          <p:nvPr>
            <p:ph type="title"/>
          </p:nvPr>
        </p:nvSpPr>
        <p:spPr>
          <a:xfrm>
            <a:off x="546994" y="758131"/>
            <a:ext cx="17058188" cy="840230"/>
          </a:xfrm>
        </p:spPr>
        <p:txBody>
          <a:bodyPr/>
          <a:lstStyle/>
          <a:p>
            <a:r>
              <a:rPr lang="en-US" sz="5400" dirty="0" err="1">
                <a:solidFill>
                  <a:schemeClr val="accent5">
                    <a:lumMod val="50000"/>
                  </a:schemeClr>
                </a:solidFill>
              </a:rPr>
              <a:t>Instalação</a:t>
            </a:r>
            <a:r>
              <a:rPr lang="en-US" sz="5400" dirty="0">
                <a:solidFill>
                  <a:schemeClr val="accent5">
                    <a:lumMod val="50000"/>
                  </a:schemeClr>
                </a:solidFill>
              </a:rPr>
              <a:t> da Barra de </a:t>
            </a:r>
            <a:r>
              <a:rPr lang="en-US" sz="5400" dirty="0" err="1">
                <a:solidFill>
                  <a:schemeClr val="accent5">
                    <a:lumMod val="50000"/>
                  </a:schemeClr>
                </a:solidFill>
              </a:rPr>
              <a:t>Ferramentas</a:t>
            </a:r>
            <a:r>
              <a:rPr lang="en-US" sz="5400" dirty="0">
                <a:solidFill>
                  <a:schemeClr val="accent5">
                    <a:lumMod val="50000"/>
                  </a:schemeClr>
                </a:solidFill>
              </a:rPr>
              <a:t> do GSTI </a:t>
            </a:r>
          </a:p>
        </p:txBody>
      </p:sp>
      <p:grpSp>
        <p:nvGrpSpPr>
          <p:cNvPr id="12" name="Grupo 11"/>
          <p:cNvGrpSpPr/>
          <p:nvPr/>
        </p:nvGrpSpPr>
        <p:grpSpPr>
          <a:xfrm>
            <a:off x="2635225" y="2054275"/>
            <a:ext cx="13321480" cy="1728192"/>
            <a:chOff x="2507233" y="5222627"/>
            <a:chExt cx="13399460" cy="1276139"/>
          </a:xfrm>
        </p:grpSpPr>
        <p:grpSp>
          <p:nvGrpSpPr>
            <p:cNvPr id="60" name="Grupo 59"/>
            <p:cNvGrpSpPr/>
            <p:nvPr/>
          </p:nvGrpSpPr>
          <p:grpSpPr>
            <a:xfrm>
              <a:off x="2507233" y="5222627"/>
              <a:ext cx="3190347" cy="1276139"/>
              <a:chOff x="1636" y="3829508"/>
              <a:chExt cx="3190347" cy="1276139"/>
            </a:xfrm>
          </p:grpSpPr>
          <p:sp>
            <p:nvSpPr>
              <p:cNvPr id="73" name="Pentágono 72"/>
              <p:cNvSpPr/>
              <p:nvPr/>
            </p:nvSpPr>
            <p:spPr>
              <a:xfrm>
                <a:off x="1636" y="3829508"/>
                <a:ext cx="3190347" cy="1276139"/>
              </a:xfrm>
              <a:prstGeom prst="homePlate">
                <a:avLst/>
              </a:prstGeom>
              <a:solidFill>
                <a:schemeClr val="bg1">
                  <a:lumMod val="65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74" name="Pentágono 4"/>
              <p:cNvSpPr/>
              <p:nvPr/>
            </p:nvSpPr>
            <p:spPr>
              <a:xfrm>
                <a:off x="1636" y="3829508"/>
                <a:ext cx="2871312" cy="1276139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106680" tIns="53340" rIns="26670" bIns="53340" numCol="1" spcCol="1270" anchor="ctr" anchorCtr="0">
                <a:no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pt-BR" kern="1200" dirty="0"/>
                  <a:t>1. Exclusão de todas as personalizações</a:t>
                </a:r>
              </a:p>
            </p:txBody>
          </p:sp>
        </p:grpSp>
        <p:grpSp>
          <p:nvGrpSpPr>
            <p:cNvPr id="61" name="Grupo 60"/>
            <p:cNvGrpSpPr/>
            <p:nvPr/>
          </p:nvGrpSpPr>
          <p:grpSpPr>
            <a:xfrm>
              <a:off x="5059511" y="5222627"/>
              <a:ext cx="3190347" cy="1276139"/>
              <a:chOff x="2553914" y="3829508"/>
              <a:chExt cx="3190347" cy="1276139"/>
            </a:xfrm>
          </p:grpSpPr>
          <p:sp>
            <p:nvSpPr>
              <p:cNvPr id="71" name="Divisa 70"/>
              <p:cNvSpPr/>
              <p:nvPr/>
            </p:nvSpPr>
            <p:spPr>
              <a:xfrm>
                <a:off x="2553914" y="3829508"/>
                <a:ext cx="3190347" cy="1276139"/>
              </a:xfrm>
              <a:prstGeom prst="chevron">
                <a:avLst/>
              </a:prstGeom>
              <a:solidFill>
                <a:schemeClr val="accent1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72" name="Divisa 6"/>
              <p:cNvSpPr/>
              <p:nvPr/>
            </p:nvSpPr>
            <p:spPr>
              <a:xfrm>
                <a:off x="3260965" y="3829508"/>
                <a:ext cx="1914208" cy="1276139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80010" tIns="53340" rIns="26670" bIns="53340" numCol="1" spcCol="1270" anchor="ctr" anchorCtr="0">
                <a:no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pt-BR" sz="2400" kern="1200" dirty="0"/>
                  <a:t>2. Exclusão dos módulos e formulários existentes </a:t>
                </a:r>
              </a:p>
            </p:txBody>
          </p:sp>
        </p:grpSp>
        <p:grpSp>
          <p:nvGrpSpPr>
            <p:cNvPr id="62" name="Grupo 61"/>
            <p:cNvGrpSpPr/>
            <p:nvPr/>
          </p:nvGrpSpPr>
          <p:grpSpPr>
            <a:xfrm>
              <a:off x="7611789" y="5222627"/>
              <a:ext cx="3190347" cy="1276139"/>
              <a:chOff x="5106192" y="3829508"/>
              <a:chExt cx="3190347" cy="1276139"/>
            </a:xfrm>
          </p:grpSpPr>
          <p:sp>
            <p:nvSpPr>
              <p:cNvPr id="69" name="Divisa 68"/>
              <p:cNvSpPr/>
              <p:nvPr/>
            </p:nvSpPr>
            <p:spPr>
              <a:xfrm>
                <a:off x="5106192" y="3829508"/>
                <a:ext cx="3190347" cy="1276139"/>
              </a:xfrm>
              <a:prstGeom prst="chevron">
                <a:avLst/>
              </a:prstGeom>
              <a:solidFill>
                <a:schemeClr val="bg1">
                  <a:lumMod val="65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70" name="Divisa 8"/>
              <p:cNvSpPr/>
              <p:nvPr/>
            </p:nvSpPr>
            <p:spPr>
              <a:xfrm>
                <a:off x="5723569" y="3829508"/>
                <a:ext cx="1914208" cy="1276139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80010" tIns="53340" rIns="26670" bIns="53340" numCol="1" spcCol="1270" anchor="ctr" anchorCtr="0">
                <a:no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pt-BR" kern="1200" dirty="0"/>
                  <a:t>3. Importação de novos módulos</a:t>
                </a:r>
              </a:p>
            </p:txBody>
          </p:sp>
        </p:grpSp>
        <p:grpSp>
          <p:nvGrpSpPr>
            <p:cNvPr id="63" name="Grupo 62"/>
            <p:cNvGrpSpPr/>
            <p:nvPr/>
          </p:nvGrpSpPr>
          <p:grpSpPr>
            <a:xfrm>
              <a:off x="10164067" y="5222627"/>
              <a:ext cx="3190347" cy="1276139"/>
              <a:chOff x="7658470" y="3829508"/>
              <a:chExt cx="3190347" cy="1276139"/>
            </a:xfrm>
          </p:grpSpPr>
          <p:sp>
            <p:nvSpPr>
              <p:cNvPr id="67" name="Divisa 66"/>
              <p:cNvSpPr/>
              <p:nvPr/>
            </p:nvSpPr>
            <p:spPr>
              <a:xfrm>
                <a:off x="7658470" y="3829508"/>
                <a:ext cx="3190347" cy="1276139"/>
              </a:xfrm>
              <a:prstGeom prst="chevron">
                <a:avLst/>
              </a:prstGeom>
              <a:solidFill>
                <a:schemeClr val="bg1">
                  <a:lumMod val="65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68" name="Divisa 10"/>
              <p:cNvSpPr/>
              <p:nvPr/>
            </p:nvSpPr>
            <p:spPr>
              <a:xfrm>
                <a:off x="8296540" y="3829508"/>
                <a:ext cx="1914208" cy="1276139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80010" tIns="53340" rIns="26670" bIns="53340" numCol="1" spcCol="1270" anchor="ctr" anchorCtr="0">
                <a:no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pt-BR" kern="1200" dirty="0"/>
                  <a:t>4. Importação da barra de ferramentas GSTI</a:t>
                </a:r>
              </a:p>
            </p:txBody>
          </p:sp>
        </p:grpSp>
        <p:grpSp>
          <p:nvGrpSpPr>
            <p:cNvPr id="64" name="Grupo 63"/>
            <p:cNvGrpSpPr/>
            <p:nvPr/>
          </p:nvGrpSpPr>
          <p:grpSpPr>
            <a:xfrm>
              <a:off x="12716346" y="5222627"/>
              <a:ext cx="3190347" cy="1276139"/>
              <a:chOff x="10210749" y="3829508"/>
              <a:chExt cx="3190347" cy="1276139"/>
            </a:xfrm>
          </p:grpSpPr>
          <p:sp>
            <p:nvSpPr>
              <p:cNvPr id="65" name="Divisa 64"/>
              <p:cNvSpPr/>
              <p:nvPr/>
            </p:nvSpPr>
            <p:spPr>
              <a:xfrm>
                <a:off x="10210749" y="3829508"/>
                <a:ext cx="3190347" cy="1276139"/>
              </a:xfrm>
              <a:prstGeom prst="chevron">
                <a:avLst/>
              </a:prstGeom>
              <a:solidFill>
                <a:schemeClr val="bg1">
                  <a:lumMod val="65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66" name="Divisa 12"/>
              <p:cNvSpPr/>
              <p:nvPr/>
            </p:nvSpPr>
            <p:spPr>
              <a:xfrm>
                <a:off x="11037625" y="3829508"/>
                <a:ext cx="1914208" cy="1276139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80010" tIns="53340" rIns="26670" bIns="53340" numCol="1" spcCol="1270" anchor="ctr" anchorCtr="0">
                <a:no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pt-BR" kern="1200" dirty="0"/>
                  <a:t>5. Marcar a </a:t>
                </a:r>
                <a:r>
                  <a:rPr lang="pt-BR" kern="1200" dirty="0" err="1"/>
                  <a:t>dll</a:t>
                </a:r>
                <a:r>
                  <a:rPr lang="pt-BR" kern="1200" dirty="0"/>
                  <a:t> do </a:t>
                </a:r>
                <a:r>
                  <a:rPr lang="pt-BR" kern="1200" dirty="0" err="1"/>
                  <a:t>excel</a:t>
                </a:r>
                <a:r>
                  <a:rPr lang="pt-BR" kern="1200" dirty="0"/>
                  <a:t>  dentro do Project</a:t>
                </a:r>
              </a:p>
            </p:txBody>
          </p:sp>
        </p:grpSp>
      </p:grpSp>
      <p:cxnSp>
        <p:nvCxnSpPr>
          <p:cNvPr id="35" name="Conector de seta reta 34"/>
          <p:cNvCxnSpPr>
            <a:stCxn id="36" idx="1"/>
          </p:cNvCxnSpPr>
          <p:nvPr/>
        </p:nvCxnSpPr>
        <p:spPr>
          <a:xfrm flipH="1">
            <a:off x="9908035" y="6191693"/>
            <a:ext cx="595713" cy="449788"/>
          </a:xfrm>
          <a:prstGeom prst="straightConnector1">
            <a:avLst/>
          </a:prstGeom>
          <a:ln w="57150">
            <a:solidFill>
              <a:srgbClr val="FF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6" name="Retângulo 35"/>
          <p:cNvSpPr/>
          <p:nvPr/>
        </p:nvSpPr>
        <p:spPr>
          <a:xfrm>
            <a:off x="10503748" y="5819752"/>
            <a:ext cx="515580" cy="743882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4000" dirty="0"/>
              <a:t>3</a:t>
            </a:r>
          </a:p>
        </p:txBody>
      </p:sp>
      <p:sp>
        <p:nvSpPr>
          <p:cNvPr id="31" name="Retângulo 30"/>
          <p:cNvSpPr/>
          <p:nvPr/>
        </p:nvSpPr>
        <p:spPr>
          <a:xfrm>
            <a:off x="9499847" y="8823027"/>
            <a:ext cx="3919431" cy="360040"/>
          </a:xfrm>
          <a:prstGeom prst="rect">
            <a:avLst/>
          </a:prstGeom>
          <a:noFill/>
          <a:ln w="38100">
            <a:solidFill>
              <a:srgbClr val="FF0000"/>
            </a:solidFill>
            <a:prstDash val="sys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cxnSp>
        <p:nvCxnSpPr>
          <p:cNvPr id="32" name="Conector de seta reta 31"/>
          <p:cNvCxnSpPr>
            <a:stCxn id="34" idx="2"/>
          </p:cNvCxnSpPr>
          <p:nvPr/>
        </p:nvCxnSpPr>
        <p:spPr>
          <a:xfrm flipH="1">
            <a:off x="7032180" y="4696434"/>
            <a:ext cx="168117" cy="1056967"/>
          </a:xfrm>
          <a:prstGeom prst="straightConnector1">
            <a:avLst/>
          </a:prstGeom>
          <a:ln w="57150">
            <a:solidFill>
              <a:srgbClr val="FF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4" name="Retângulo 33"/>
          <p:cNvSpPr/>
          <p:nvPr/>
        </p:nvSpPr>
        <p:spPr>
          <a:xfrm>
            <a:off x="6917518" y="3952552"/>
            <a:ext cx="565558" cy="743882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4000" dirty="0"/>
              <a:t>1</a:t>
            </a:r>
          </a:p>
        </p:txBody>
      </p:sp>
      <p:sp>
        <p:nvSpPr>
          <p:cNvPr id="38" name="Retângulo 37"/>
          <p:cNvSpPr/>
          <p:nvPr/>
        </p:nvSpPr>
        <p:spPr>
          <a:xfrm>
            <a:off x="7028435" y="6266771"/>
            <a:ext cx="1315996" cy="252000"/>
          </a:xfrm>
          <a:prstGeom prst="rect">
            <a:avLst/>
          </a:prstGeom>
          <a:noFill/>
          <a:ln w="38100">
            <a:solidFill>
              <a:srgbClr val="FF0000"/>
            </a:solidFill>
            <a:prstDash val="sys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cxnSp>
        <p:nvCxnSpPr>
          <p:cNvPr id="39" name="Conector de seta reta 38"/>
          <p:cNvCxnSpPr>
            <a:stCxn id="40" idx="0"/>
          </p:cNvCxnSpPr>
          <p:nvPr/>
        </p:nvCxnSpPr>
        <p:spPr>
          <a:xfrm flipV="1">
            <a:off x="6858448" y="6441683"/>
            <a:ext cx="177358" cy="768359"/>
          </a:xfrm>
          <a:prstGeom prst="straightConnector1">
            <a:avLst/>
          </a:prstGeom>
          <a:ln w="57150">
            <a:solidFill>
              <a:srgbClr val="FF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0" name="Retângulo 39"/>
          <p:cNvSpPr/>
          <p:nvPr/>
        </p:nvSpPr>
        <p:spPr>
          <a:xfrm>
            <a:off x="6600658" y="7210042"/>
            <a:ext cx="515580" cy="743882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4000" dirty="0"/>
              <a:t>2</a:t>
            </a:r>
          </a:p>
        </p:txBody>
      </p:sp>
      <p:sp>
        <p:nvSpPr>
          <p:cNvPr id="41" name="Retângulo 40"/>
          <p:cNvSpPr/>
          <p:nvPr/>
        </p:nvSpPr>
        <p:spPr>
          <a:xfrm>
            <a:off x="6648651" y="5804684"/>
            <a:ext cx="3259383" cy="210031"/>
          </a:xfrm>
          <a:prstGeom prst="rect">
            <a:avLst/>
          </a:prstGeom>
          <a:noFill/>
          <a:ln w="38100">
            <a:solidFill>
              <a:srgbClr val="FF0000"/>
            </a:solidFill>
            <a:prstDash val="sys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42" name="Retângulo 41"/>
          <p:cNvSpPr/>
          <p:nvPr/>
        </p:nvSpPr>
        <p:spPr>
          <a:xfrm>
            <a:off x="7631365" y="6518771"/>
            <a:ext cx="2276670" cy="216000"/>
          </a:xfrm>
          <a:prstGeom prst="rect">
            <a:avLst/>
          </a:prstGeom>
          <a:noFill/>
          <a:ln w="38100">
            <a:solidFill>
              <a:srgbClr val="FF0000"/>
            </a:solidFill>
            <a:prstDash val="sys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cxnSp>
        <p:nvCxnSpPr>
          <p:cNvPr id="43" name="Conector de seta reta 42"/>
          <p:cNvCxnSpPr/>
          <p:nvPr/>
        </p:nvCxnSpPr>
        <p:spPr>
          <a:xfrm>
            <a:off x="8132849" y="8714778"/>
            <a:ext cx="1342360" cy="216498"/>
          </a:xfrm>
          <a:prstGeom prst="straightConnector1">
            <a:avLst/>
          </a:prstGeom>
          <a:ln w="57150">
            <a:solidFill>
              <a:srgbClr val="FF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4" name="Retângulo 43"/>
          <p:cNvSpPr/>
          <p:nvPr/>
        </p:nvSpPr>
        <p:spPr>
          <a:xfrm>
            <a:off x="7645163" y="8294277"/>
            <a:ext cx="515580" cy="743882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4000" dirty="0"/>
              <a:t>4</a:t>
            </a:r>
          </a:p>
        </p:txBody>
      </p:sp>
      <p:sp>
        <p:nvSpPr>
          <p:cNvPr id="45" name="Retângulo de cantos arredondados 44"/>
          <p:cNvSpPr/>
          <p:nvPr/>
        </p:nvSpPr>
        <p:spPr>
          <a:xfrm>
            <a:off x="619002" y="4646563"/>
            <a:ext cx="5472608" cy="5673907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46" name="CaixaDeTexto 45"/>
          <p:cNvSpPr txBox="1"/>
          <p:nvPr/>
        </p:nvSpPr>
        <p:spPr>
          <a:xfrm>
            <a:off x="943038" y="4882033"/>
            <a:ext cx="5040560" cy="53091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pt-BR" sz="3600" dirty="0">
                <a:solidFill>
                  <a:srgbClr val="000000"/>
                </a:solidFill>
              </a:rPr>
              <a:t>Expandir o “</a:t>
            </a:r>
            <a:r>
              <a:rPr lang="pt-BR" sz="3600" dirty="0" err="1">
                <a:solidFill>
                  <a:srgbClr val="000000"/>
                </a:solidFill>
              </a:rPr>
              <a:t>Global.MPT</a:t>
            </a:r>
            <a:r>
              <a:rPr lang="pt-BR" sz="3600" dirty="0">
                <a:solidFill>
                  <a:srgbClr val="000000"/>
                </a:solidFill>
              </a:rPr>
              <a:t>”</a:t>
            </a:r>
          </a:p>
          <a:p>
            <a:pPr marL="342900" indent="-342900">
              <a:buFont typeface="+mj-lt"/>
              <a:buAutoNum type="arabicPeriod"/>
            </a:pPr>
            <a:endParaRPr lang="pt-BR" sz="1400" dirty="0">
              <a:solidFill>
                <a:srgbClr val="000000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pt-BR" sz="3600" dirty="0">
                <a:solidFill>
                  <a:srgbClr val="000000"/>
                </a:solidFill>
              </a:rPr>
              <a:t>Expandir os módulos</a:t>
            </a:r>
          </a:p>
          <a:p>
            <a:pPr marL="342900" indent="-342900">
              <a:buFont typeface="+mj-lt"/>
              <a:buAutoNum type="arabicPeriod"/>
            </a:pPr>
            <a:endParaRPr lang="pt-BR" sz="1400" dirty="0">
              <a:solidFill>
                <a:srgbClr val="000000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pt-BR" sz="3600" dirty="0">
                <a:solidFill>
                  <a:srgbClr val="000000"/>
                </a:solidFill>
              </a:rPr>
              <a:t>Clicar com o botão direito sobre o módulo que deseja excluir</a:t>
            </a:r>
          </a:p>
          <a:p>
            <a:pPr marL="342900" indent="-342900">
              <a:buFont typeface="+mj-lt"/>
              <a:buAutoNum type="arabicPeriod"/>
            </a:pPr>
            <a:endParaRPr lang="pt-BR" sz="1400" dirty="0">
              <a:solidFill>
                <a:srgbClr val="000000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pt-BR" sz="3600" dirty="0">
                <a:solidFill>
                  <a:srgbClr val="000000"/>
                </a:solidFill>
              </a:rPr>
              <a:t>Selecionar a opção “Remover”</a:t>
            </a:r>
          </a:p>
        </p:txBody>
      </p:sp>
      <p:sp>
        <p:nvSpPr>
          <p:cNvPr id="47" name="Título 1"/>
          <p:cNvSpPr txBox="1">
            <a:spLocks/>
          </p:cNvSpPr>
          <p:nvPr/>
        </p:nvSpPr>
        <p:spPr>
          <a:xfrm>
            <a:off x="835028" y="4215234"/>
            <a:ext cx="5256581" cy="48013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47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936" kern="1200" baseline="0">
                <a:solidFill>
                  <a:srgbClr val="006067"/>
                </a:solidFill>
                <a:latin typeface="Agenda Medium" charset="0"/>
                <a:ea typeface="Agenda Medium" charset="0"/>
                <a:cs typeface="Agenda Medium" charset="0"/>
              </a:defRPr>
            </a:lvl1pPr>
          </a:lstStyle>
          <a:p>
            <a:r>
              <a:rPr lang="en-US" sz="2800" dirty="0">
                <a:solidFill>
                  <a:schemeClr val="accent5">
                    <a:lumMod val="50000"/>
                  </a:schemeClr>
                </a:solidFill>
                <a:latin typeface="+mn-lt"/>
              </a:rPr>
              <a:t>2.2)</a:t>
            </a:r>
            <a:r>
              <a:rPr lang="en-US" sz="2800" dirty="0" err="1">
                <a:solidFill>
                  <a:schemeClr val="accent5">
                    <a:lumMod val="50000"/>
                  </a:schemeClr>
                </a:solidFill>
                <a:latin typeface="+mn-lt"/>
              </a:rPr>
              <a:t>Excluir</a:t>
            </a:r>
            <a:r>
              <a:rPr lang="en-US" sz="2800" dirty="0">
                <a:solidFill>
                  <a:schemeClr val="accent5">
                    <a:lumMod val="50000"/>
                  </a:schemeClr>
                </a:solidFill>
                <a:latin typeface="+mn-lt"/>
              </a:rPr>
              <a:t> o </a:t>
            </a:r>
            <a:r>
              <a:rPr lang="en-US" sz="2800" dirty="0" err="1">
                <a:solidFill>
                  <a:schemeClr val="accent5">
                    <a:lumMod val="50000"/>
                  </a:schemeClr>
                </a:solidFill>
                <a:latin typeface="+mn-lt"/>
              </a:rPr>
              <a:t>módulo</a:t>
            </a:r>
            <a:endParaRPr lang="en-US" sz="2800" dirty="0">
              <a:solidFill>
                <a:schemeClr val="accent5">
                  <a:lumMod val="50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4765898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" name="Objeto 50" hidden="1">
            <a:extLst>
              <a:ext uri="{FF2B5EF4-FFF2-40B4-BE49-F238E27FC236}">
                <a16:creationId xmlns:a16="http://schemas.microsoft.com/office/drawing/2014/main" id="{7E65BC4C-0858-4F13-A045-BAC5EB65DAD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5" imgW="317" imgH="318" progId="TCLayout.ActiveDocument.1">
                  <p:embed/>
                </p:oleObj>
              </mc:Choice>
              <mc:Fallback>
                <p:oleObj name="Slide do think-cell" r:id="rId5" imgW="317" imgH="318" progId="TCLayout.ActiveDocument.1">
                  <p:embed/>
                  <p:pic>
                    <p:nvPicPr>
                      <p:cNvPr id="51" name="Objeto 50" hidden="1">
                        <a:extLst>
                          <a:ext uri="{FF2B5EF4-FFF2-40B4-BE49-F238E27FC236}">
                            <a16:creationId xmlns:a16="http://schemas.microsoft.com/office/drawing/2014/main" id="{7E65BC4C-0858-4F13-A045-BAC5EB65DA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Retângulo 49" hidden="1">
            <a:extLst>
              <a:ext uri="{FF2B5EF4-FFF2-40B4-BE49-F238E27FC236}">
                <a16:creationId xmlns:a16="http://schemas.microsoft.com/office/drawing/2014/main" id="{B6FD34B5-13C2-49BE-8AF2-FCDC4689AF2B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000">
              <a:latin typeface="Calibri" panose="020F0502020204030204" pitchFamily="34" charset="0"/>
              <a:sym typeface="+mn-lt"/>
            </a:endParaRPr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9CB7E9B1-69E0-4E6D-BF67-AE78100CC5D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9485098" y="10669637"/>
            <a:ext cx="720080" cy="601662"/>
          </a:xfrm>
        </p:spPr>
        <p:txBody>
          <a:bodyPr/>
          <a:lstStyle/>
          <a:p>
            <a:fld id="{BE418F81-F092-F643-8EAE-268022441A30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9" name="Título 1"/>
          <p:cNvSpPr>
            <a:spLocks noGrp="1"/>
          </p:cNvSpPr>
          <p:nvPr>
            <p:ph type="title"/>
          </p:nvPr>
        </p:nvSpPr>
        <p:spPr>
          <a:xfrm>
            <a:off x="546994" y="758131"/>
            <a:ext cx="17058188" cy="840230"/>
          </a:xfrm>
        </p:spPr>
        <p:txBody>
          <a:bodyPr/>
          <a:lstStyle/>
          <a:p>
            <a:r>
              <a:rPr lang="en-US" sz="5400" dirty="0" err="1">
                <a:solidFill>
                  <a:schemeClr val="accent5">
                    <a:lumMod val="50000"/>
                  </a:schemeClr>
                </a:solidFill>
              </a:rPr>
              <a:t>Instalação</a:t>
            </a:r>
            <a:r>
              <a:rPr lang="en-US" sz="5400" dirty="0">
                <a:solidFill>
                  <a:schemeClr val="accent5">
                    <a:lumMod val="50000"/>
                  </a:schemeClr>
                </a:solidFill>
              </a:rPr>
              <a:t> da Barra de </a:t>
            </a:r>
            <a:r>
              <a:rPr lang="en-US" sz="5400" dirty="0" err="1">
                <a:solidFill>
                  <a:schemeClr val="accent5">
                    <a:lumMod val="50000"/>
                  </a:schemeClr>
                </a:solidFill>
              </a:rPr>
              <a:t>Ferramentas</a:t>
            </a:r>
            <a:r>
              <a:rPr lang="en-US" sz="5400" dirty="0">
                <a:solidFill>
                  <a:schemeClr val="accent5">
                    <a:lumMod val="50000"/>
                  </a:schemeClr>
                </a:solidFill>
              </a:rPr>
              <a:t> do GSTI </a:t>
            </a:r>
          </a:p>
        </p:txBody>
      </p:sp>
      <p:grpSp>
        <p:nvGrpSpPr>
          <p:cNvPr id="12" name="Grupo 11"/>
          <p:cNvGrpSpPr/>
          <p:nvPr/>
        </p:nvGrpSpPr>
        <p:grpSpPr>
          <a:xfrm>
            <a:off x="2635225" y="2054275"/>
            <a:ext cx="13321480" cy="1728192"/>
            <a:chOff x="2507233" y="5222627"/>
            <a:chExt cx="13399460" cy="1276139"/>
          </a:xfrm>
        </p:grpSpPr>
        <p:grpSp>
          <p:nvGrpSpPr>
            <p:cNvPr id="60" name="Grupo 59"/>
            <p:cNvGrpSpPr/>
            <p:nvPr/>
          </p:nvGrpSpPr>
          <p:grpSpPr>
            <a:xfrm>
              <a:off x="2507233" y="5222627"/>
              <a:ext cx="3190347" cy="1276139"/>
              <a:chOff x="1636" y="3829508"/>
              <a:chExt cx="3190347" cy="1276139"/>
            </a:xfrm>
          </p:grpSpPr>
          <p:sp>
            <p:nvSpPr>
              <p:cNvPr id="73" name="Pentágono 72"/>
              <p:cNvSpPr/>
              <p:nvPr/>
            </p:nvSpPr>
            <p:spPr>
              <a:xfrm>
                <a:off x="1636" y="3829508"/>
                <a:ext cx="3190347" cy="1276139"/>
              </a:xfrm>
              <a:prstGeom prst="homePlate">
                <a:avLst/>
              </a:prstGeom>
              <a:solidFill>
                <a:schemeClr val="bg1">
                  <a:lumMod val="65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74" name="Pentágono 4"/>
              <p:cNvSpPr/>
              <p:nvPr/>
            </p:nvSpPr>
            <p:spPr>
              <a:xfrm>
                <a:off x="1636" y="3829508"/>
                <a:ext cx="2871312" cy="1276139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106680" tIns="53340" rIns="26670" bIns="53340" numCol="1" spcCol="1270" anchor="ctr" anchorCtr="0">
                <a:no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pt-BR" kern="1200" dirty="0"/>
                  <a:t>1. Exclusão de todas as personalizações</a:t>
                </a:r>
              </a:p>
            </p:txBody>
          </p:sp>
        </p:grpSp>
        <p:grpSp>
          <p:nvGrpSpPr>
            <p:cNvPr id="61" name="Grupo 60"/>
            <p:cNvGrpSpPr/>
            <p:nvPr/>
          </p:nvGrpSpPr>
          <p:grpSpPr>
            <a:xfrm>
              <a:off x="5059511" y="5222627"/>
              <a:ext cx="3190347" cy="1276139"/>
              <a:chOff x="2553914" y="3829508"/>
              <a:chExt cx="3190347" cy="1276139"/>
            </a:xfrm>
          </p:grpSpPr>
          <p:sp>
            <p:nvSpPr>
              <p:cNvPr id="71" name="Divisa 70"/>
              <p:cNvSpPr/>
              <p:nvPr/>
            </p:nvSpPr>
            <p:spPr>
              <a:xfrm>
                <a:off x="2553914" y="3829508"/>
                <a:ext cx="3190347" cy="1276139"/>
              </a:xfrm>
              <a:prstGeom prst="chevron">
                <a:avLst/>
              </a:prstGeom>
              <a:solidFill>
                <a:schemeClr val="bg1">
                  <a:lumMod val="65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72" name="Divisa 6"/>
              <p:cNvSpPr/>
              <p:nvPr/>
            </p:nvSpPr>
            <p:spPr>
              <a:xfrm>
                <a:off x="3260965" y="3829508"/>
                <a:ext cx="1914208" cy="1276139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80010" tIns="53340" rIns="26670" bIns="53340" numCol="1" spcCol="1270" anchor="ctr" anchorCtr="0">
                <a:no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pt-BR" sz="2000" kern="1200" dirty="0"/>
                  <a:t>2. Exclusão dos módulos e formulários existentes </a:t>
                </a:r>
              </a:p>
            </p:txBody>
          </p:sp>
        </p:grpSp>
        <p:grpSp>
          <p:nvGrpSpPr>
            <p:cNvPr id="62" name="Grupo 61"/>
            <p:cNvGrpSpPr/>
            <p:nvPr/>
          </p:nvGrpSpPr>
          <p:grpSpPr>
            <a:xfrm>
              <a:off x="7611789" y="5222627"/>
              <a:ext cx="3190347" cy="1276139"/>
              <a:chOff x="5106192" y="3829508"/>
              <a:chExt cx="3190347" cy="1276139"/>
            </a:xfrm>
          </p:grpSpPr>
          <p:sp>
            <p:nvSpPr>
              <p:cNvPr id="69" name="Divisa 68"/>
              <p:cNvSpPr/>
              <p:nvPr/>
            </p:nvSpPr>
            <p:spPr>
              <a:xfrm>
                <a:off x="5106192" y="3829508"/>
                <a:ext cx="3190347" cy="1276139"/>
              </a:xfrm>
              <a:prstGeom prst="chevron">
                <a:avLst/>
              </a:prstGeom>
              <a:solidFill>
                <a:schemeClr val="accent1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70" name="Divisa 8"/>
              <p:cNvSpPr/>
              <p:nvPr/>
            </p:nvSpPr>
            <p:spPr>
              <a:xfrm>
                <a:off x="5744262" y="3829508"/>
                <a:ext cx="1914208" cy="1276139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80010" tIns="53340" rIns="26670" bIns="53340" numCol="1" spcCol="1270" anchor="ctr" anchorCtr="0">
                <a:no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pt-BR" sz="2400" kern="1200" dirty="0"/>
                  <a:t>3. Importação de novos módulos</a:t>
                </a:r>
              </a:p>
            </p:txBody>
          </p:sp>
        </p:grpSp>
        <p:grpSp>
          <p:nvGrpSpPr>
            <p:cNvPr id="63" name="Grupo 62"/>
            <p:cNvGrpSpPr/>
            <p:nvPr/>
          </p:nvGrpSpPr>
          <p:grpSpPr>
            <a:xfrm>
              <a:off x="10164067" y="5222627"/>
              <a:ext cx="3190347" cy="1276139"/>
              <a:chOff x="7658470" y="3829508"/>
              <a:chExt cx="3190347" cy="1276139"/>
            </a:xfrm>
          </p:grpSpPr>
          <p:sp>
            <p:nvSpPr>
              <p:cNvPr id="67" name="Divisa 66"/>
              <p:cNvSpPr/>
              <p:nvPr/>
            </p:nvSpPr>
            <p:spPr>
              <a:xfrm>
                <a:off x="7658470" y="3829508"/>
                <a:ext cx="3190347" cy="1276139"/>
              </a:xfrm>
              <a:prstGeom prst="chevron">
                <a:avLst/>
              </a:prstGeom>
              <a:solidFill>
                <a:schemeClr val="bg1">
                  <a:lumMod val="65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68" name="Divisa 10"/>
              <p:cNvSpPr/>
              <p:nvPr/>
            </p:nvSpPr>
            <p:spPr>
              <a:xfrm>
                <a:off x="8296540" y="3829508"/>
                <a:ext cx="1914208" cy="1276139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80010" tIns="53340" rIns="26670" bIns="53340" numCol="1" spcCol="1270" anchor="ctr" anchorCtr="0">
                <a:no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pt-BR" kern="1200" dirty="0"/>
                  <a:t>4. Importação da barra de ferramentas GSTI</a:t>
                </a:r>
              </a:p>
            </p:txBody>
          </p:sp>
        </p:grpSp>
        <p:grpSp>
          <p:nvGrpSpPr>
            <p:cNvPr id="64" name="Grupo 63"/>
            <p:cNvGrpSpPr/>
            <p:nvPr/>
          </p:nvGrpSpPr>
          <p:grpSpPr>
            <a:xfrm>
              <a:off x="12716346" y="5222627"/>
              <a:ext cx="3190347" cy="1276139"/>
              <a:chOff x="10210749" y="3829508"/>
              <a:chExt cx="3190347" cy="1276139"/>
            </a:xfrm>
          </p:grpSpPr>
          <p:sp>
            <p:nvSpPr>
              <p:cNvPr id="65" name="Divisa 64"/>
              <p:cNvSpPr/>
              <p:nvPr/>
            </p:nvSpPr>
            <p:spPr>
              <a:xfrm>
                <a:off x="10210749" y="3829508"/>
                <a:ext cx="3190347" cy="1276139"/>
              </a:xfrm>
              <a:prstGeom prst="chevron">
                <a:avLst/>
              </a:prstGeom>
              <a:solidFill>
                <a:schemeClr val="bg1">
                  <a:lumMod val="65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66" name="Divisa 12"/>
              <p:cNvSpPr/>
              <p:nvPr/>
            </p:nvSpPr>
            <p:spPr>
              <a:xfrm>
                <a:off x="11037625" y="3829508"/>
                <a:ext cx="1914208" cy="1276139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80010" tIns="53340" rIns="26670" bIns="53340" numCol="1" spcCol="1270" anchor="ctr" anchorCtr="0">
                <a:no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pt-BR" kern="1200" dirty="0"/>
                  <a:t>5. Marcar a </a:t>
                </a:r>
                <a:r>
                  <a:rPr lang="pt-BR" kern="1200" dirty="0" err="1"/>
                  <a:t>dll</a:t>
                </a:r>
                <a:r>
                  <a:rPr lang="pt-BR" kern="1200" dirty="0"/>
                  <a:t> do </a:t>
                </a:r>
                <a:r>
                  <a:rPr lang="pt-BR" kern="1200" dirty="0" err="1"/>
                  <a:t>excel</a:t>
                </a:r>
                <a:r>
                  <a:rPr lang="pt-BR" kern="1200" dirty="0"/>
                  <a:t>  dentro do Project</a:t>
                </a:r>
              </a:p>
            </p:txBody>
          </p:sp>
        </p:grpSp>
      </p:grpSp>
      <p:cxnSp>
        <p:nvCxnSpPr>
          <p:cNvPr id="35" name="Conector de seta reta 34"/>
          <p:cNvCxnSpPr>
            <a:stCxn id="36" idx="3"/>
          </p:cNvCxnSpPr>
          <p:nvPr/>
        </p:nvCxnSpPr>
        <p:spPr>
          <a:xfrm>
            <a:off x="11019328" y="7406930"/>
            <a:ext cx="981150" cy="98948"/>
          </a:xfrm>
          <a:prstGeom prst="straightConnector1">
            <a:avLst/>
          </a:prstGeom>
          <a:ln w="57150">
            <a:solidFill>
              <a:srgbClr val="FF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6" name="Retângulo 35"/>
          <p:cNvSpPr/>
          <p:nvPr/>
        </p:nvSpPr>
        <p:spPr>
          <a:xfrm>
            <a:off x="10503748" y="7034989"/>
            <a:ext cx="515580" cy="743882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4000" dirty="0"/>
              <a:t>1</a:t>
            </a:r>
          </a:p>
        </p:txBody>
      </p:sp>
      <p:sp>
        <p:nvSpPr>
          <p:cNvPr id="31" name="Retângulo 30"/>
          <p:cNvSpPr/>
          <p:nvPr/>
        </p:nvSpPr>
        <p:spPr>
          <a:xfrm>
            <a:off x="12000478" y="7382867"/>
            <a:ext cx="1003900" cy="266932"/>
          </a:xfrm>
          <a:prstGeom prst="rect">
            <a:avLst/>
          </a:prstGeom>
          <a:noFill/>
          <a:ln w="38100">
            <a:solidFill>
              <a:srgbClr val="FF0000"/>
            </a:solidFill>
            <a:prstDash val="sys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pic>
        <p:nvPicPr>
          <p:cNvPr id="33" name="Picture 2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081" t="18322" r="14933" b="19643"/>
          <a:stretch/>
        </p:blipFill>
        <p:spPr bwMode="auto">
          <a:xfrm>
            <a:off x="6641585" y="4194799"/>
            <a:ext cx="13059537" cy="660244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32" name="Retângulo de cantos arredondados 31"/>
          <p:cNvSpPr/>
          <p:nvPr/>
        </p:nvSpPr>
        <p:spPr>
          <a:xfrm>
            <a:off x="619002" y="4646563"/>
            <a:ext cx="5472608" cy="5673907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34" name="CaixaDeTexto 33"/>
          <p:cNvSpPr txBox="1"/>
          <p:nvPr/>
        </p:nvSpPr>
        <p:spPr>
          <a:xfrm>
            <a:off x="943038" y="4832097"/>
            <a:ext cx="5040560" cy="20467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pt-BR" sz="3600" dirty="0">
                <a:solidFill>
                  <a:srgbClr val="000000"/>
                </a:solidFill>
              </a:rPr>
              <a:t>Ir à pagina inicial</a:t>
            </a:r>
          </a:p>
          <a:p>
            <a:pPr marL="342900" indent="-342900">
              <a:buFont typeface="+mj-lt"/>
              <a:buAutoNum type="arabicPeriod"/>
            </a:pPr>
            <a:endParaRPr lang="pt-BR" sz="1500" dirty="0">
              <a:solidFill>
                <a:srgbClr val="000000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pt-BR" sz="3600" dirty="0">
                <a:solidFill>
                  <a:srgbClr val="000000"/>
                </a:solidFill>
              </a:rPr>
              <a:t>Digitar “Alt+F11” para acessar o visual </a:t>
            </a:r>
            <a:r>
              <a:rPr lang="pt-BR" sz="3600" dirty="0" err="1">
                <a:solidFill>
                  <a:srgbClr val="000000"/>
                </a:solidFill>
              </a:rPr>
              <a:t>basic</a:t>
            </a:r>
            <a:endParaRPr lang="pt-BR" sz="3600" dirty="0">
              <a:solidFill>
                <a:srgbClr val="000000"/>
              </a:solidFill>
            </a:endParaRPr>
          </a:p>
        </p:txBody>
      </p:sp>
      <p:sp>
        <p:nvSpPr>
          <p:cNvPr id="38" name="Título 1"/>
          <p:cNvSpPr txBox="1">
            <a:spLocks/>
          </p:cNvSpPr>
          <p:nvPr/>
        </p:nvSpPr>
        <p:spPr>
          <a:xfrm>
            <a:off x="835028" y="4215234"/>
            <a:ext cx="5256581" cy="48013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47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936" kern="1200" baseline="0">
                <a:solidFill>
                  <a:srgbClr val="006067"/>
                </a:solidFill>
                <a:latin typeface="Agenda Medium" charset="0"/>
                <a:ea typeface="Agenda Medium" charset="0"/>
                <a:cs typeface="Agenda Medium" charset="0"/>
              </a:defRPr>
            </a:lvl1pPr>
          </a:lstStyle>
          <a:p>
            <a:r>
              <a:rPr lang="en-US" sz="2800" dirty="0">
                <a:solidFill>
                  <a:schemeClr val="accent5">
                    <a:lumMod val="50000"/>
                  </a:schemeClr>
                </a:solidFill>
                <a:latin typeface="+mn-lt"/>
              </a:rPr>
              <a:t>3.1)</a:t>
            </a:r>
            <a:r>
              <a:rPr lang="en-US" sz="2800" dirty="0" err="1">
                <a:solidFill>
                  <a:schemeClr val="accent5">
                    <a:lumMod val="50000"/>
                  </a:schemeClr>
                </a:solidFill>
                <a:latin typeface="+mn-lt"/>
              </a:rPr>
              <a:t>Acessar</a:t>
            </a:r>
            <a:r>
              <a:rPr lang="en-US" sz="2800" dirty="0">
                <a:solidFill>
                  <a:schemeClr val="accent5">
                    <a:lumMod val="50000"/>
                  </a:schemeClr>
                </a:solidFill>
                <a:latin typeface="+mn-lt"/>
              </a:rPr>
              <a:t> o Visual Basic</a:t>
            </a:r>
          </a:p>
        </p:txBody>
      </p:sp>
    </p:spTree>
    <p:extLst>
      <p:ext uri="{BB962C8B-B14F-4D97-AF65-F5344CB8AC3E}">
        <p14:creationId xmlns:p14="http://schemas.microsoft.com/office/powerpoint/2010/main" val="231525810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" name="Objeto 50" hidden="1">
            <a:extLst>
              <a:ext uri="{FF2B5EF4-FFF2-40B4-BE49-F238E27FC236}">
                <a16:creationId xmlns:a16="http://schemas.microsoft.com/office/drawing/2014/main" id="{7E65BC4C-0858-4F13-A045-BAC5EB65DAD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5" imgW="317" imgH="318" progId="TCLayout.ActiveDocument.1">
                  <p:embed/>
                </p:oleObj>
              </mc:Choice>
              <mc:Fallback>
                <p:oleObj name="Slide do think-cell" r:id="rId5" imgW="317" imgH="318" progId="TCLayout.ActiveDocument.1">
                  <p:embed/>
                  <p:pic>
                    <p:nvPicPr>
                      <p:cNvPr id="51" name="Objeto 50" hidden="1">
                        <a:extLst>
                          <a:ext uri="{FF2B5EF4-FFF2-40B4-BE49-F238E27FC236}">
                            <a16:creationId xmlns:a16="http://schemas.microsoft.com/office/drawing/2014/main" id="{7E65BC4C-0858-4F13-A045-BAC5EB65DA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Retângulo 49" hidden="1">
            <a:extLst>
              <a:ext uri="{FF2B5EF4-FFF2-40B4-BE49-F238E27FC236}">
                <a16:creationId xmlns:a16="http://schemas.microsoft.com/office/drawing/2014/main" id="{B6FD34B5-13C2-49BE-8AF2-FCDC4689AF2B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000">
              <a:latin typeface="Calibri" panose="020F0502020204030204" pitchFamily="34" charset="0"/>
              <a:sym typeface="+mn-lt"/>
            </a:endParaRPr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9CB7E9B1-69E0-4E6D-BF67-AE78100CC5D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9485098" y="10669637"/>
            <a:ext cx="720080" cy="601662"/>
          </a:xfrm>
        </p:spPr>
        <p:txBody>
          <a:bodyPr/>
          <a:lstStyle/>
          <a:p>
            <a:fld id="{BE418F81-F092-F643-8EAE-268022441A30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9" name="Título 1"/>
          <p:cNvSpPr>
            <a:spLocks noGrp="1"/>
          </p:cNvSpPr>
          <p:nvPr>
            <p:ph type="title"/>
          </p:nvPr>
        </p:nvSpPr>
        <p:spPr>
          <a:xfrm>
            <a:off x="546994" y="758131"/>
            <a:ext cx="17058188" cy="840230"/>
          </a:xfrm>
        </p:spPr>
        <p:txBody>
          <a:bodyPr/>
          <a:lstStyle/>
          <a:p>
            <a:r>
              <a:rPr lang="en-US" sz="5400" dirty="0" err="1">
                <a:solidFill>
                  <a:schemeClr val="accent5">
                    <a:lumMod val="50000"/>
                  </a:schemeClr>
                </a:solidFill>
              </a:rPr>
              <a:t>Instalação</a:t>
            </a:r>
            <a:r>
              <a:rPr lang="en-US" sz="5400" dirty="0">
                <a:solidFill>
                  <a:schemeClr val="accent5">
                    <a:lumMod val="50000"/>
                  </a:schemeClr>
                </a:solidFill>
              </a:rPr>
              <a:t> da Barra de </a:t>
            </a:r>
            <a:r>
              <a:rPr lang="en-US" sz="5400" dirty="0" err="1">
                <a:solidFill>
                  <a:schemeClr val="accent5">
                    <a:lumMod val="50000"/>
                  </a:schemeClr>
                </a:solidFill>
              </a:rPr>
              <a:t>Ferramentas</a:t>
            </a:r>
            <a:r>
              <a:rPr lang="en-US" sz="5400" dirty="0">
                <a:solidFill>
                  <a:schemeClr val="accent5">
                    <a:lumMod val="50000"/>
                  </a:schemeClr>
                </a:solidFill>
              </a:rPr>
              <a:t> do GSTI </a:t>
            </a:r>
          </a:p>
        </p:txBody>
      </p:sp>
      <p:grpSp>
        <p:nvGrpSpPr>
          <p:cNvPr id="12" name="Grupo 11"/>
          <p:cNvGrpSpPr/>
          <p:nvPr/>
        </p:nvGrpSpPr>
        <p:grpSpPr>
          <a:xfrm>
            <a:off x="2635225" y="2054275"/>
            <a:ext cx="13321480" cy="1728192"/>
            <a:chOff x="2507233" y="5222627"/>
            <a:chExt cx="13399460" cy="1276139"/>
          </a:xfrm>
        </p:grpSpPr>
        <p:grpSp>
          <p:nvGrpSpPr>
            <p:cNvPr id="60" name="Grupo 59"/>
            <p:cNvGrpSpPr/>
            <p:nvPr/>
          </p:nvGrpSpPr>
          <p:grpSpPr>
            <a:xfrm>
              <a:off x="2507233" y="5222627"/>
              <a:ext cx="3190347" cy="1276139"/>
              <a:chOff x="1636" y="3829508"/>
              <a:chExt cx="3190347" cy="1276139"/>
            </a:xfrm>
          </p:grpSpPr>
          <p:sp>
            <p:nvSpPr>
              <p:cNvPr id="73" name="Pentágono 72"/>
              <p:cNvSpPr/>
              <p:nvPr/>
            </p:nvSpPr>
            <p:spPr>
              <a:xfrm>
                <a:off x="1636" y="3829508"/>
                <a:ext cx="3190347" cy="1276139"/>
              </a:xfrm>
              <a:prstGeom prst="homePlate">
                <a:avLst/>
              </a:prstGeom>
              <a:solidFill>
                <a:schemeClr val="bg1">
                  <a:lumMod val="65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74" name="Pentágono 4"/>
              <p:cNvSpPr/>
              <p:nvPr/>
            </p:nvSpPr>
            <p:spPr>
              <a:xfrm>
                <a:off x="1636" y="3829508"/>
                <a:ext cx="2871312" cy="1276139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106680" tIns="53340" rIns="26670" bIns="53340" numCol="1" spcCol="1270" anchor="ctr" anchorCtr="0">
                <a:no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pt-BR" kern="1200" dirty="0"/>
                  <a:t>1. Exclusão de todas as personalizações</a:t>
                </a:r>
              </a:p>
            </p:txBody>
          </p:sp>
        </p:grpSp>
        <p:grpSp>
          <p:nvGrpSpPr>
            <p:cNvPr id="61" name="Grupo 60"/>
            <p:cNvGrpSpPr/>
            <p:nvPr/>
          </p:nvGrpSpPr>
          <p:grpSpPr>
            <a:xfrm>
              <a:off x="5059511" y="5222627"/>
              <a:ext cx="3190347" cy="1276139"/>
              <a:chOff x="2553914" y="3829508"/>
              <a:chExt cx="3190347" cy="1276139"/>
            </a:xfrm>
          </p:grpSpPr>
          <p:sp>
            <p:nvSpPr>
              <p:cNvPr id="71" name="Divisa 70"/>
              <p:cNvSpPr/>
              <p:nvPr/>
            </p:nvSpPr>
            <p:spPr>
              <a:xfrm>
                <a:off x="2553914" y="3829508"/>
                <a:ext cx="3190347" cy="1276139"/>
              </a:xfrm>
              <a:prstGeom prst="chevron">
                <a:avLst/>
              </a:prstGeom>
              <a:solidFill>
                <a:schemeClr val="bg1">
                  <a:lumMod val="65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72" name="Divisa 6"/>
              <p:cNvSpPr/>
              <p:nvPr/>
            </p:nvSpPr>
            <p:spPr>
              <a:xfrm>
                <a:off x="3260965" y="3829508"/>
                <a:ext cx="1914208" cy="1276139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80010" tIns="53340" rIns="26670" bIns="53340" numCol="1" spcCol="1270" anchor="ctr" anchorCtr="0">
                <a:no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pt-BR" sz="2000" kern="1200" dirty="0"/>
                  <a:t>2. Exclusão dos módulos e formulários existentes </a:t>
                </a:r>
              </a:p>
            </p:txBody>
          </p:sp>
        </p:grpSp>
        <p:grpSp>
          <p:nvGrpSpPr>
            <p:cNvPr id="62" name="Grupo 61"/>
            <p:cNvGrpSpPr/>
            <p:nvPr/>
          </p:nvGrpSpPr>
          <p:grpSpPr>
            <a:xfrm>
              <a:off x="7611789" y="5222627"/>
              <a:ext cx="3190347" cy="1276139"/>
              <a:chOff x="5106192" y="3829508"/>
              <a:chExt cx="3190347" cy="1276139"/>
            </a:xfrm>
          </p:grpSpPr>
          <p:sp>
            <p:nvSpPr>
              <p:cNvPr id="69" name="Divisa 68"/>
              <p:cNvSpPr/>
              <p:nvPr/>
            </p:nvSpPr>
            <p:spPr>
              <a:xfrm>
                <a:off x="5106192" y="3829508"/>
                <a:ext cx="3190347" cy="1276139"/>
              </a:xfrm>
              <a:prstGeom prst="chevron">
                <a:avLst/>
              </a:prstGeom>
              <a:solidFill>
                <a:schemeClr val="accent1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70" name="Divisa 8"/>
              <p:cNvSpPr/>
              <p:nvPr/>
            </p:nvSpPr>
            <p:spPr>
              <a:xfrm>
                <a:off x="5744262" y="3829508"/>
                <a:ext cx="1914208" cy="1276139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80010" tIns="53340" rIns="26670" bIns="53340" numCol="1" spcCol="1270" anchor="ctr" anchorCtr="0">
                <a:no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pt-BR" sz="2400" kern="1200" dirty="0"/>
                  <a:t>3. Importação de novos módulos</a:t>
                </a:r>
              </a:p>
            </p:txBody>
          </p:sp>
        </p:grpSp>
        <p:grpSp>
          <p:nvGrpSpPr>
            <p:cNvPr id="63" name="Grupo 62"/>
            <p:cNvGrpSpPr/>
            <p:nvPr/>
          </p:nvGrpSpPr>
          <p:grpSpPr>
            <a:xfrm>
              <a:off x="10164067" y="5222627"/>
              <a:ext cx="3190347" cy="1276139"/>
              <a:chOff x="7658470" y="3829508"/>
              <a:chExt cx="3190347" cy="1276139"/>
            </a:xfrm>
          </p:grpSpPr>
          <p:sp>
            <p:nvSpPr>
              <p:cNvPr id="67" name="Divisa 66"/>
              <p:cNvSpPr/>
              <p:nvPr/>
            </p:nvSpPr>
            <p:spPr>
              <a:xfrm>
                <a:off x="7658470" y="3829508"/>
                <a:ext cx="3190347" cy="1276139"/>
              </a:xfrm>
              <a:prstGeom prst="chevron">
                <a:avLst/>
              </a:prstGeom>
              <a:solidFill>
                <a:schemeClr val="bg1">
                  <a:lumMod val="65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68" name="Divisa 10"/>
              <p:cNvSpPr/>
              <p:nvPr/>
            </p:nvSpPr>
            <p:spPr>
              <a:xfrm>
                <a:off x="8296540" y="3829508"/>
                <a:ext cx="1914208" cy="1276139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80010" tIns="53340" rIns="26670" bIns="53340" numCol="1" spcCol="1270" anchor="ctr" anchorCtr="0">
                <a:no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pt-BR" kern="1200" dirty="0"/>
                  <a:t>4. Importação da barra de ferramentas GSTI</a:t>
                </a:r>
              </a:p>
            </p:txBody>
          </p:sp>
        </p:grpSp>
        <p:grpSp>
          <p:nvGrpSpPr>
            <p:cNvPr id="64" name="Grupo 63"/>
            <p:cNvGrpSpPr/>
            <p:nvPr/>
          </p:nvGrpSpPr>
          <p:grpSpPr>
            <a:xfrm>
              <a:off x="12716346" y="5222627"/>
              <a:ext cx="3190347" cy="1276139"/>
              <a:chOff x="10210749" y="3829508"/>
              <a:chExt cx="3190347" cy="1276139"/>
            </a:xfrm>
          </p:grpSpPr>
          <p:sp>
            <p:nvSpPr>
              <p:cNvPr id="65" name="Divisa 64"/>
              <p:cNvSpPr/>
              <p:nvPr/>
            </p:nvSpPr>
            <p:spPr>
              <a:xfrm>
                <a:off x="10210749" y="3829508"/>
                <a:ext cx="3190347" cy="1276139"/>
              </a:xfrm>
              <a:prstGeom prst="chevron">
                <a:avLst/>
              </a:prstGeom>
              <a:solidFill>
                <a:schemeClr val="bg1">
                  <a:lumMod val="65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66" name="Divisa 12"/>
              <p:cNvSpPr/>
              <p:nvPr/>
            </p:nvSpPr>
            <p:spPr>
              <a:xfrm>
                <a:off x="11037625" y="3829508"/>
                <a:ext cx="1914208" cy="1276139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80010" tIns="53340" rIns="26670" bIns="53340" numCol="1" spcCol="1270" anchor="ctr" anchorCtr="0">
                <a:no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pt-BR" kern="1200" dirty="0"/>
                  <a:t>5. Marcar a </a:t>
                </a:r>
                <a:r>
                  <a:rPr lang="pt-BR" kern="1200" dirty="0" err="1"/>
                  <a:t>dll</a:t>
                </a:r>
                <a:r>
                  <a:rPr lang="pt-BR" kern="1200" dirty="0"/>
                  <a:t> do </a:t>
                </a:r>
                <a:r>
                  <a:rPr lang="pt-BR" kern="1200" dirty="0" err="1"/>
                  <a:t>excel</a:t>
                </a:r>
                <a:r>
                  <a:rPr lang="pt-BR" kern="1200" dirty="0"/>
                  <a:t>  dentro do Project</a:t>
                </a:r>
              </a:p>
            </p:txBody>
          </p:sp>
        </p:grpSp>
      </p:grpSp>
      <p:cxnSp>
        <p:nvCxnSpPr>
          <p:cNvPr id="35" name="Conector de seta reta 34"/>
          <p:cNvCxnSpPr>
            <a:stCxn id="36" idx="3"/>
          </p:cNvCxnSpPr>
          <p:nvPr/>
        </p:nvCxnSpPr>
        <p:spPr>
          <a:xfrm>
            <a:off x="11019328" y="7406930"/>
            <a:ext cx="981150" cy="98948"/>
          </a:xfrm>
          <a:prstGeom prst="straightConnector1">
            <a:avLst/>
          </a:prstGeom>
          <a:ln w="57150">
            <a:solidFill>
              <a:srgbClr val="FF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6" name="Retângulo 35"/>
          <p:cNvSpPr/>
          <p:nvPr/>
        </p:nvSpPr>
        <p:spPr>
          <a:xfrm>
            <a:off x="10503748" y="7034989"/>
            <a:ext cx="515580" cy="743882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4000" dirty="0"/>
              <a:t>1</a:t>
            </a:r>
          </a:p>
        </p:txBody>
      </p:sp>
      <p:sp>
        <p:nvSpPr>
          <p:cNvPr id="31" name="Retângulo 30"/>
          <p:cNvSpPr/>
          <p:nvPr/>
        </p:nvSpPr>
        <p:spPr>
          <a:xfrm>
            <a:off x="12000478" y="7382867"/>
            <a:ext cx="1003900" cy="266932"/>
          </a:xfrm>
          <a:prstGeom prst="rect">
            <a:avLst/>
          </a:prstGeom>
          <a:noFill/>
          <a:ln w="38100">
            <a:solidFill>
              <a:srgbClr val="FF0000"/>
            </a:solidFill>
            <a:prstDash val="sys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pic>
        <p:nvPicPr>
          <p:cNvPr id="29" name="Picture 2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751" b="55434"/>
          <a:stretch/>
        </p:blipFill>
        <p:spPr bwMode="auto">
          <a:xfrm>
            <a:off x="6595665" y="4214514"/>
            <a:ext cx="13104818" cy="66672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cxnSp>
        <p:nvCxnSpPr>
          <p:cNvPr id="32" name="Conector de seta reta 31"/>
          <p:cNvCxnSpPr>
            <a:stCxn id="34" idx="2"/>
          </p:cNvCxnSpPr>
          <p:nvPr/>
        </p:nvCxnSpPr>
        <p:spPr>
          <a:xfrm flipH="1">
            <a:off x="6931605" y="5612746"/>
            <a:ext cx="168117" cy="1056967"/>
          </a:xfrm>
          <a:prstGeom prst="straightConnector1">
            <a:avLst/>
          </a:prstGeom>
          <a:ln w="57150">
            <a:solidFill>
              <a:srgbClr val="FF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4" name="Retângulo 33"/>
          <p:cNvSpPr/>
          <p:nvPr/>
        </p:nvSpPr>
        <p:spPr>
          <a:xfrm>
            <a:off x="6816943" y="4868864"/>
            <a:ext cx="565558" cy="743882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4000" dirty="0"/>
              <a:t>1</a:t>
            </a:r>
          </a:p>
        </p:txBody>
      </p:sp>
      <p:sp>
        <p:nvSpPr>
          <p:cNvPr id="38" name="Retângulo 37"/>
          <p:cNvSpPr/>
          <p:nvPr/>
        </p:nvSpPr>
        <p:spPr>
          <a:xfrm>
            <a:off x="6755638" y="6662787"/>
            <a:ext cx="3656452" cy="288000"/>
          </a:xfrm>
          <a:prstGeom prst="rect">
            <a:avLst/>
          </a:prstGeom>
          <a:noFill/>
          <a:ln w="38100">
            <a:solidFill>
              <a:srgbClr val="FF0000"/>
            </a:solidFill>
            <a:prstDash val="sys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cxnSp>
        <p:nvCxnSpPr>
          <p:cNvPr id="39" name="Conector de seta reta 38"/>
          <p:cNvCxnSpPr>
            <a:stCxn id="40" idx="0"/>
            <a:endCxn id="41" idx="1"/>
          </p:cNvCxnSpPr>
          <p:nvPr/>
        </p:nvCxnSpPr>
        <p:spPr>
          <a:xfrm flipV="1">
            <a:off x="7022461" y="7172546"/>
            <a:ext cx="77260" cy="858393"/>
          </a:xfrm>
          <a:prstGeom prst="straightConnector1">
            <a:avLst/>
          </a:prstGeom>
          <a:ln w="57150">
            <a:solidFill>
              <a:srgbClr val="FF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0" name="Retângulo 39"/>
          <p:cNvSpPr/>
          <p:nvPr/>
        </p:nvSpPr>
        <p:spPr>
          <a:xfrm>
            <a:off x="6739682" y="8030939"/>
            <a:ext cx="565558" cy="743882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4000" dirty="0"/>
              <a:t>2</a:t>
            </a:r>
          </a:p>
        </p:txBody>
      </p:sp>
      <p:sp>
        <p:nvSpPr>
          <p:cNvPr id="41" name="Retângulo 40"/>
          <p:cNvSpPr/>
          <p:nvPr/>
        </p:nvSpPr>
        <p:spPr>
          <a:xfrm>
            <a:off x="7099721" y="7034989"/>
            <a:ext cx="3147777" cy="275113"/>
          </a:xfrm>
          <a:prstGeom prst="rect">
            <a:avLst/>
          </a:prstGeom>
          <a:noFill/>
          <a:ln w="38100">
            <a:solidFill>
              <a:srgbClr val="FF0000"/>
            </a:solidFill>
            <a:prstDash val="sys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44" name="Retângulo 43"/>
          <p:cNvSpPr/>
          <p:nvPr/>
        </p:nvSpPr>
        <p:spPr>
          <a:xfrm>
            <a:off x="10271502" y="8999229"/>
            <a:ext cx="4287021" cy="399862"/>
          </a:xfrm>
          <a:prstGeom prst="rect">
            <a:avLst/>
          </a:prstGeom>
          <a:noFill/>
          <a:ln w="38100">
            <a:solidFill>
              <a:srgbClr val="FF0000"/>
            </a:solidFill>
            <a:prstDash val="sys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cxnSp>
        <p:nvCxnSpPr>
          <p:cNvPr id="45" name="Conector de seta reta 44"/>
          <p:cNvCxnSpPr>
            <a:endCxn id="44" idx="1"/>
          </p:cNvCxnSpPr>
          <p:nvPr/>
        </p:nvCxnSpPr>
        <p:spPr>
          <a:xfrm flipV="1">
            <a:off x="9357157" y="9199160"/>
            <a:ext cx="914345" cy="120990"/>
          </a:xfrm>
          <a:prstGeom prst="straightConnector1">
            <a:avLst/>
          </a:prstGeom>
          <a:ln w="57150">
            <a:solidFill>
              <a:srgbClr val="FF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6" name="Retângulo 45"/>
          <p:cNvSpPr/>
          <p:nvPr/>
        </p:nvSpPr>
        <p:spPr>
          <a:xfrm>
            <a:off x="8791599" y="8876201"/>
            <a:ext cx="565558" cy="743882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4000" dirty="0"/>
              <a:t>3</a:t>
            </a:r>
          </a:p>
        </p:txBody>
      </p:sp>
      <p:sp>
        <p:nvSpPr>
          <p:cNvPr id="48" name="CaixaDeTexto 47"/>
          <p:cNvSpPr txBox="1"/>
          <p:nvPr/>
        </p:nvSpPr>
        <p:spPr>
          <a:xfrm>
            <a:off x="546994" y="10215440"/>
            <a:ext cx="573039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dirty="0">
                <a:solidFill>
                  <a:srgbClr val="FF0000"/>
                </a:solidFill>
              </a:rPr>
              <a:t>Atenção: Expandir o VBA Project ou outra  pasta irá acarretar no não funcionamento</a:t>
            </a:r>
            <a:r>
              <a:rPr lang="pt-BR" sz="1100" dirty="0">
                <a:solidFill>
                  <a:srgbClr val="FF0000"/>
                </a:solidFill>
              </a:rPr>
              <a:t>.</a:t>
            </a:r>
          </a:p>
        </p:txBody>
      </p:sp>
      <p:sp>
        <p:nvSpPr>
          <p:cNvPr id="52" name="Retângulo de cantos arredondados 51"/>
          <p:cNvSpPr/>
          <p:nvPr/>
        </p:nvSpPr>
        <p:spPr>
          <a:xfrm>
            <a:off x="619002" y="4646563"/>
            <a:ext cx="5472608" cy="5673907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53" name="CaixaDeTexto 52"/>
          <p:cNvSpPr txBox="1"/>
          <p:nvPr/>
        </p:nvSpPr>
        <p:spPr>
          <a:xfrm>
            <a:off x="943038" y="4862587"/>
            <a:ext cx="5040560" cy="44319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pt-BR" sz="3600" b="1" dirty="0">
                <a:solidFill>
                  <a:srgbClr val="000000"/>
                </a:solidFill>
              </a:rPr>
              <a:t>Expandir o “Project Global (GLOBAL).MPT</a:t>
            </a:r>
          </a:p>
          <a:p>
            <a:pPr marL="342900" indent="-342900">
              <a:buFont typeface="+mj-lt"/>
              <a:buAutoNum type="arabicPeriod"/>
            </a:pPr>
            <a:endParaRPr lang="pt-BR" sz="1500" b="1" dirty="0">
              <a:solidFill>
                <a:srgbClr val="000000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pt-BR" sz="3600" dirty="0">
                <a:solidFill>
                  <a:srgbClr val="000000"/>
                </a:solidFill>
              </a:rPr>
              <a:t>Clicar com o botão direito em “Microsoft Project Objetos”</a:t>
            </a:r>
          </a:p>
          <a:p>
            <a:pPr marL="342900" indent="-342900">
              <a:buFont typeface="+mj-lt"/>
              <a:buAutoNum type="arabicPeriod"/>
            </a:pPr>
            <a:endParaRPr lang="pt-BR" sz="1500" dirty="0">
              <a:solidFill>
                <a:srgbClr val="000000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pt-BR" sz="3600" dirty="0">
                <a:solidFill>
                  <a:srgbClr val="000000"/>
                </a:solidFill>
              </a:rPr>
              <a:t>Selecionar “Importar arquivo”</a:t>
            </a:r>
          </a:p>
        </p:txBody>
      </p:sp>
      <p:sp>
        <p:nvSpPr>
          <p:cNvPr id="54" name="Título 1"/>
          <p:cNvSpPr txBox="1">
            <a:spLocks/>
          </p:cNvSpPr>
          <p:nvPr/>
        </p:nvSpPr>
        <p:spPr>
          <a:xfrm>
            <a:off x="835028" y="4215234"/>
            <a:ext cx="5256581" cy="48013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47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936" kern="1200" baseline="0">
                <a:solidFill>
                  <a:srgbClr val="006067"/>
                </a:solidFill>
                <a:latin typeface="Agenda Medium" charset="0"/>
                <a:ea typeface="Agenda Medium" charset="0"/>
                <a:cs typeface="Agenda Medium" charset="0"/>
              </a:defRPr>
            </a:lvl1pPr>
          </a:lstStyle>
          <a:p>
            <a:r>
              <a:rPr lang="en-US" sz="2800" dirty="0">
                <a:solidFill>
                  <a:schemeClr val="accent5">
                    <a:lumMod val="50000"/>
                  </a:schemeClr>
                </a:solidFill>
                <a:latin typeface="+mn-lt"/>
              </a:rPr>
              <a:t>3.2)</a:t>
            </a:r>
            <a:r>
              <a:rPr lang="en-US" sz="2800" dirty="0" err="1">
                <a:solidFill>
                  <a:schemeClr val="accent5">
                    <a:lumMod val="50000"/>
                  </a:schemeClr>
                </a:solidFill>
                <a:latin typeface="+mn-lt"/>
              </a:rPr>
              <a:t>Importar</a:t>
            </a:r>
            <a:r>
              <a:rPr lang="en-US" sz="2800" dirty="0">
                <a:solidFill>
                  <a:schemeClr val="accent5">
                    <a:lumMod val="50000"/>
                  </a:schemeClr>
                </a:solidFill>
                <a:latin typeface="+mn-lt"/>
              </a:rPr>
              <a:t> </a:t>
            </a:r>
            <a:r>
              <a:rPr lang="en-US" sz="2800" dirty="0" err="1">
                <a:solidFill>
                  <a:schemeClr val="accent5">
                    <a:lumMod val="50000"/>
                  </a:schemeClr>
                </a:solidFill>
                <a:latin typeface="+mn-lt"/>
              </a:rPr>
              <a:t>arquivo</a:t>
            </a:r>
            <a:r>
              <a:rPr lang="en-US" sz="2800" dirty="0">
                <a:solidFill>
                  <a:schemeClr val="accent5">
                    <a:lumMod val="50000"/>
                  </a:schemeClr>
                </a:solidFill>
                <a:latin typeface="+mn-lt"/>
              </a:rPr>
              <a:t> da Macro</a:t>
            </a:r>
          </a:p>
        </p:txBody>
      </p:sp>
    </p:spTree>
    <p:extLst>
      <p:ext uri="{BB962C8B-B14F-4D97-AF65-F5344CB8AC3E}">
        <p14:creationId xmlns:p14="http://schemas.microsoft.com/office/powerpoint/2010/main" val="21139808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034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1&quot;&gt;&lt;elem m_fUsage=&quot;1.89999999999999991118E+00&quot;&gt;&lt;m_msothmcolidx val=&quot;0&quot;/&gt;&lt;m_rgb r=&quot;FF&quot; g=&quot;00&quot; b=&quot;00&quot;/&gt;&lt;m_nBrightness tagver0=&quot;26206&quot; tagname0=&quot;m_nBrightnessUNRECOGNIZED&quot;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0z5Ra7QimLFfScW9Jo8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0z5Ra7QimLFfScW9Jo8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0z5Ra7QimLFfScW9Jo8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0z5Ra7QimLFfScW9Jo8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0z5Ra7QimLFfScW9Jo8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0z5Ra7QimLFfScW9Jo8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0z5Ra7QimLFfScW9Jo8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0z5Ra7QimLFfScW9Jo8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0z5Ra7QimLFfScW9Jo8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0z5Ra7QimLFfScW9Jo8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0z5Ra7QimLFfScW9Jo8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0z5Ra7QimLFfScW9Jo8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0z5Ra7QimLFfScW9Jo8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0z5Ra7QimLFfScW9Jo8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0z5Ra7QimLFfScW9Jo8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0z5Ra7QimLFfScW9Jo8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0z5Ra7QimLFfScW9Jo8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0z5Ra7QimLFfScW9Jo8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MT Template">
  <a:themeElements>
    <a:clrScheme name="Niobium2">
      <a:dk1>
        <a:srgbClr val="485765"/>
      </a:dk1>
      <a:lt1>
        <a:srgbClr val="FFFFFF"/>
      </a:lt1>
      <a:dk2>
        <a:srgbClr val="C5B8AB"/>
      </a:dk2>
      <a:lt2>
        <a:srgbClr val="E7E6E6"/>
      </a:lt2>
      <a:accent1>
        <a:srgbClr val="005F66"/>
      </a:accent1>
      <a:accent2>
        <a:srgbClr val="E5B611"/>
      </a:accent2>
      <a:accent3>
        <a:srgbClr val="7BC8A0"/>
      </a:accent3>
      <a:accent4>
        <a:srgbClr val="FF7D78"/>
      </a:accent4>
      <a:accent5>
        <a:srgbClr val="5B9BD5"/>
      </a:accent5>
      <a:accent6>
        <a:srgbClr val="005F66"/>
      </a:accent6>
      <a:hlink>
        <a:srgbClr val="005F66"/>
      </a:hlink>
      <a:folHlink>
        <a:srgbClr val="485765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iobium5" id="{4A2506C8-62DC-7644-A619-C6782E8C0DA1}" vid="{C0D1DA48-F247-0348-B650-A04A2835EDA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63DFB35F0B09BA41AF54FC4903225F5B" ma:contentTypeVersion="12" ma:contentTypeDescription="Crie um novo documento." ma:contentTypeScope="" ma:versionID="88afad98f24d116704af87d72533eb09">
  <xsd:schema xmlns:xsd="http://www.w3.org/2001/XMLSchema" xmlns:xs="http://www.w3.org/2001/XMLSchema" xmlns:p="http://schemas.microsoft.com/office/2006/metadata/properties" xmlns:ns2="eb33c5a6-54d1-477f-83bb-93291d03e373" xmlns:ns3="cd8cfd7d-5186-4715-9870-1f6c504c93d5" targetNamespace="http://schemas.microsoft.com/office/2006/metadata/properties" ma:root="true" ma:fieldsID="95e8515a11a0c11488025c807b4764e6" ns2:_="" ns3:_="">
    <xsd:import namespace="eb33c5a6-54d1-477f-83bb-93291d03e373"/>
    <xsd:import namespace="cd8cfd7d-5186-4715-9870-1f6c504c93d5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b33c5a6-54d1-477f-83bb-93291d03e373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Compartilhado com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Detalhes de Compartilhado Com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d8cfd7d-5186-4715-9870-1f6c504c93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F52DCB59-50A4-42E6-ADCD-E30AED86F71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FAD9F2F-A5C2-4F5D-887A-AD2846A3311C}"/>
</file>

<file path=customXml/itemProps3.xml><?xml version="1.0" encoding="utf-8"?>
<ds:datastoreItem xmlns:ds="http://schemas.openxmlformats.org/officeDocument/2006/customXml" ds:itemID="{7590E59E-A852-4D69-B008-22BD0FC4BE70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MT Template</Template>
  <TotalTime>24210</TotalTime>
  <Words>1351</Words>
  <Application>Microsoft Office PowerPoint</Application>
  <PresentationFormat>Personalizar</PresentationFormat>
  <Paragraphs>258</Paragraphs>
  <Slides>19</Slides>
  <Notes>18</Notes>
  <HiddenSlides>0</HiddenSlides>
  <MMClips>0</MMClips>
  <ScaleCrop>false</ScaleCrop>
  <HeadingPairs>
    <vt:vector size="8" baseType="variant">
      <vt:variant>
        <vt:lpstr>Fontes usadas</vt:lpstr>
      </vt:variant>
      <vt:variant>
        <vt:i4>7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9</vt:i4>
      </vt:variant>
    </vt:vector>
  </HeadingPairs>
  <TitlesOfParts>
    <vt:vector size="28" baseType="lpstr">
      <vt:lpstr>.AppleSystemUIFont</vt:lpstr>
      <vt:lpstr>Agenda</vt:lpstr>
      <vt:lpstr>Agenda Medium</vt:lpstr>
      <vt:lpstr>AppleSymbols</vt:lpstr>
      <vt:lpstr>Arial</vt:lpstr>
      <vt:lpstr>Calibri</vt:lpstr>
      <vt:lpstr>Trebuchet MS</vt:lpstr>
      <vt:lpstr>NMT Template</vt:lpstr>
      <vt:lpstr>Slide do think-cell</vt:lpstr>
      <vt:lpstr>Instalação da Barra de Ferramentas GSTI</vt:lpstr>
      <vt:lpstr>Instalação da Barra de Ferramentas do GSTI </vt:lpstr>
      <vt:lpstr>Instalação da Barra de Ferramentas do GSTI </vt:lpstr>
      <vt:lpstr>Instalação da Barra de Ferramentas do GSTI </vt:lpstr>
      <vt:lpstr>Instalação da Barra de Ferramentas do GSTI </vt:lpstr>
      <vt:lpstr>Instalação da Barra de Ferramentas do GSTI </vt:lpstr>
      <vt:lpstr>Instalação da Barra de Ferramentas do GSTI </vt:lpstr>
      <vt:lpstr>Instalação da Barra de Ferramentas do GSTI </vt:lpstr>
      <vt:lpstr>Instalação da Barra de Ferramentas do GSTI </vt:lpstr>
      <vt:lpstr>Instalação da Barra de Ferramentas do GSTI </vt:lpstr>
      <vt:lpstr>Instalação da Barra de Ferramentas do GSTI </vt:lpstr>
      <vt:lpstr>Instalação da Barra de Ferramentas do GSTI </vt:lpstr>
      <vt:lpstr>Instalação da Barra de Ferramentas do GSTI </vt:lpstr>
      <vt:lpstr>Instalação da Barra de Ferramentas do GSTI </vt:lpstr>
      <vt:lpstr>Instalação da Barra de Ferramentas do GSTI </vt:lpstr>
      <vt:lpstr>Instalação da Barra de Ferramentas do GSTI </vt:lpstr>
      <vt:lpstr>Instalação da Barra de Ferramentas do GSTI </vt:lpstr>
      <vt:lpstr>Instalação da Barra de Ferramentas do GSTI </vt:lpstr>
      <vt:lpstr>Apresentação do PowerPoint</vt:lpstr>
    </vt:vector>
  </TitlesOfParts>
  <Company>Microso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velopment of Wheels communications plan</dc:title>
  <dc:creator>amills</dc:creator>
  <cp:lastModifiedBy>Felipe Alvares De Faria</cp:lastModifiedBy>
  <cp:revision>729</cp:revision>
  <cp:lastPrinted>2018-05-13T12:19:36Z</cp:lastPrinted>
  <dcterms:created xsi:type="dcterms:W3CDTF">2018-02-06T12:23:54Z</dcterms:created>
  <dcterms:modified xsi:type="dcterms:W3CDTF">2021-01-29T13:55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17-06-13T00:00:00Z</vt:filetime>
  </property>
  <property fmtid="{D5CDD505-2E9C-101B-9397-08002B2CF9AE}" pid="3" name="Creator">
    <vt:lpwstr>Adobe InDesign CC 2017 (Macintosh)</vt:lpwstr>
  </property>
  <property fmtid="{D5CDD505-2E9C-101B-9397-08002B2CF9AE}" pid="4" name="LastSaved">
    <vt:filetime>2017-06-13T00:00:00Z</vt:filetime>
  </property>
  <property fmtid="{D5CDD505-2E9C-101B-9397-08002B2CF9AE}" pid="5" name="ContentTypeId">
    <vt:lpwstr>0x01010063DFB35F0B09BA41AF54FC4903225F5B</vt:lpwstr>
  </property>
</Properties>
</file>